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6"/>
  </p:notesMasterIdLst>
  <p:sldIdLst>
    <p:sldId id="448" r:id="rId5"/>
    <p:sldId id="410" r:id="rId6"/>
    <p:sldId id="257353" r:id="rId7"/>
    <p:sldId id="257025" r:id="rId8"/>
    <p:sldId id="257332" r:id="rId9"/>
    <p:sldId id="257345" r:id="rId10"/>
    <p:sldId id="257348" r:id="rId11"/>
    <p:sldId id="257349" r:id="rId12"/>
    <p:sldId id="257335" r:id="rId13"/>
    <p:sldId id="257347" r:id="rId14"/>
    <p:sldId id="257026" r:id="rId15"/>
    <p:sldId id="1581" r:id="rId16"/>
    <p:sldId id="707" r:id="rId17"/>
    <p:sldId id="701" r:id="rId18"/>
    <p:sldId id="703" r:id="rId19"/>
    <p:sldId id="257350" r:id="rId20"/>
    <p:sldId id="717" r:id="rId21"/>
    <p:sldId id="730" r:id="rId22"/>
    <p:sldId id="587" r:id="rId23"/>
    <p:sldId id="737" r:id="rId24"/>
    <p:sldId id="257337" r:id="rId25"/>
    <p:sldId id="257022" r:id="rId26"/>
    <p:sldId id="257023" r:id="rId27"/>
    <p:sldId id="257028" r:id="rId28"/>
    <p:sldId id="455" r:id="rId29"/>
    <p:sldId id="456" r:id="rId30"/>
    <p:sldId id="257357" r:id="rId31"/>
    <p:sldId id="458" r:id="rId32"/>
    <p:sldId id="257352" r:id="rId33"/>
    <p:sldId id="257351" r:id="rId34"/>
    <p:sldId id="368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17D7B6-35C6-698B-0852-A7F09D81D89A}" v="88" dt="2024-03-28T06:57:35.230"/>
    <p1510:client id="{A05BB8A2-F777-4C67-90C4-ECA215C3DF6E}" v="74" dt="2024-03-27T12:58:30.6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99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n, Jessica" userId="a1cfc7a5-f6b9-4e4e-acb1-677740784d8b" providerId="ADAL" clId="{76000A7A-1F0E-47E9-8B53-065A79F729AB}"/>
    <pc:docChg chg="modSld">
      <pc:chgData name="Sun, Jessica" userId="a1cfc7a5-f6b9-4e4e-acb1-677740784d8b" providerId="ADAL" clId="{76000A7A-1F0E-47E9-8B53-065A79F729AB}" dt="2024-03-28T07:04:12.303" v="94" actId="6549"/>
      <pc:docMkLst>
        <pc:docMk/>
      </pc:docMkLst>
      <pc:sldChg chg="modSp mod">
        <pc:chgData name="Sun, Jessica" userId="a1cfc7a5-f6b9-4e4e-acb1-677740784d8b" providerId="ADAL" clId="{76000A7A-1F0E-47E9-8B53-065A79F729AB}" dt="2024-03-28T07:04:12.303" v="94" actId="6549"/>
        <pc:sldMkLst>
          <pc:docMk/>
          <pc:sldMk cId="1095559774" sldId="257332"/>
        </pc:sldMkLst>
        <pc:spChg chg="mod">
          <ac:chgData name="Sun, Jessica" userId="a1cfc7a5-f6b9-4e4e-acb1-677740784d8b" providerId="ADAL" clId="{76000A7A-1F0E-47E9-8B53-065A79F729AB}" dt="2024-03-28T06:58:26.114" v="24" actId="1035"/>
          <ac:spMkLst>
            <pc:docMk/>
            <pc:sldMk cId="1095559774" sldId="257332"/>
            <ac:spMk id="6" creationId="{DECF6C58-E165-EFC1-929A-31DB5FCBB171}"/>
          </ac:spMkLst>
        </pc:spChg>
        <pc:spChg chg="mod">
          <ac:chgData name="Sun, Jessica" userId="a1cfc7a5-f6b9-4e4e-acb1-677740784d8b" providerId="ADAL" clId="{76000A7A-1F0E-47E9-8B53-065A79F729AB}" dt="2024-03-28T06:59:16.206" v="42" actId="6549"/>
          <ac:spMkLst>
            <pc:docMk/>
            <pc:sldMk cId="1095559774" sldId="257332"/>
            <ac:spMk id="43" creationId="{7659AECE-EB22-4430-BCE8-3675C46ED914}"/>
          </ac:spMkLst>
        </pc:spChg>
        <pc:spChg chg="mod">
          <ac:chgData name="Sun, Jessica" userId="a1cfc7a5-f6b9-4e4e-acb1-677740784d8b" providerId="ADAL" clId="{76000A7A-1F0E-47E9-8B53-065A79F729AB}" dt="2024-03-28T06:58:16.325" v="14" actId="1035"/>
          <ac:spMkLst>
            <pc:docMk/>
            <pc:sldMk cId="1095559774" sldId="257332"/>
            <ac:spMk id="46" creationId="{333C2A45-34FC-422D-8E85-DE8C7E8343BC}"/>
          </ac:spMkLst>
        </pc:spChg>
        <pc:spChg chg="mod">
          <ac:chgData name="Sun, Jessica" userId="a1cfc7a5-f6b9-4e4e-acb1-677740784d8b" providerId="ADAL" clId="{76000A7A-1F0E-47E9-8B53-065A79F729AB}" dt="2024-03-28T07:04:12.303" v="94" actId="6549"/>
          <ac:spMkLst>
            <pc:docMk/>
            <pc:sldMk cId="1095559774" sldId="257332"/>
            <ac:spMk id="64" creationId="{26B58B02-81F2-43DE-8B54-A2691B1F6D88}"/>
          </ac:spMkLst>
        </pc:spChg>
        <pc:spChg chg="mod">
          <ac:chgData name="Sun, Jessica" userId="a1cfc7a5-f6b9-4e4e-acb1-677740784d8b" providerId="ADAL" clId="{76000A7A-1F0E-47E9-8B53-065A79F729AB}" dt="2024-03-28T06:58:32.130" v="35" actId="1036"/>
          <ac:spMkLst>
            <pc:docMk/>
            <pc:sldMk cId="1095559774" sldId="257332"/>
            <ac:spMk id="72" creationId="{19502D9C-2390-4DE6-A144-CEBBB3B53D8A}"/>
          </ac:spMkLst>
        </pc:spChg>
        <pc:spChg chg="mod">
          <ac:chgData name="Sun, Jessica" userId="a1cfc7a5-f6b9-4e4e-acb1-677740784d8b" providerId="ADAL" clId="{76000A7A-1F0E-47E9-8B53-065A79F729AB}" dt="2024-03-28T06:58:16.325" v="14" actId="1035"/>
          <ac:spMkLst>
            <pc:docMk/>
            <pc:sldMk cId="1095559774" sldId="257332"/>
            <ac:spMk id="83" creationId="{C21CA98C-5538-40C1-A1E4-DF892D09FA3B}"/>
          </ac:spMkLst>
        </pc:spChg>
      </pc:sldChg>
    </pc:docChg>
  </pc:docChgLst>
  <pc:docChgLst>
    <pc:chgData name="Pudakhe, Vikee (Cognizant)" userId="685ea712-970a-4e39-b64e-d78fa77bbd01" providerId="ADAL" clId="{A05BB8A2-F777-4C67-90C4-ECA215C3DF6E}"/>
    <pc:docChg chg="undo custSel delSld modSld">
      <pc:chgData name="Pudakhe, Vikee (Cognizant)" userId="685ea712-970a-4e39-b64e-d78fa77bbd01" providerId="ADAL" clId="{A05BB8A2-F777-4C67-90C4-ECA215C3DF6E}" dt="2024-03-27T12:58:30.689" v="155" actId="47"/>
      <pc:docMkLst>
        <pc:docMk/>
      </pc:docMkLst>
      <pc:sldChg chg="modSp mod">
        <pc:chgData name="Pudakhe, Vikee (Cognizant)" userId="685ea712-970a-4e39-b64e-d78fa77bbd01" providerId="ADAL" clId="{A05BB8A2-F777-4C67-90C4-ECA215C3DF6E}" dt="2024-03-27T12:29:02.403" v="152" actId="20577"/>
        <pc:sldMkLst>
          <pc:docMk/>
          <pc:sldMk cId="3983356117" sldId="448"/>
        </pc:sldMkLst>
        <pc:spChg chg="mod">
          <ac:chgData name="Pudakhe, Vikee (Cognizant)" userId="685ea712-970a-4e39-b64e-d78fa77bbd01" providerId="ADAL" clId="{A05BB8A2-F777-4C67-90C4-ECA215C3DF6E}" dt="2024-03-27T12:29:02.403" v="152" actId="20577"/>
          <ac:spMkLst>
            <pc:docMk/>
            <pc:sldMk cId="3983356117" sldId="448"/>
            <ac:spMk id="7" creationId="{00000000-0000-0000-0000-000000000000}"/>
          </ac:spMkLst>
        </pc:spChg>
        <pc:spChg chg="mod">
          <ac:chgData name="Pudakhe, Vikee (Cognizant)" userId="685ea712-970a-4e39-b64e-d78fa77bbd01" providerId="ADAL" clId="{A05BB8A2-F777-4C67-90C4-ECA215C3DF6E}" dt="2024-03-27T12:28:14.463" v="121" actId="20577"/>
          <ac:spMkLst>
            <pc:docMk/>
            <pc:sldMk cId="3983356117" sldId="448"/>
            <ac:spMk id="8" creationId="{CDA777BE-A3D6-479F-87A2-E581A9045A16}"/>
          </ac:spMkLst>
        </pc:spChg>
      </pc:sldChg>
      <pc:sldChg chg="modSp mod">
        <pc:chgData name="Pudakhe, Vikee (Cognizant)" userId="685ea712-970a-4e39-b64e-d78fa77bbd01" providerId="ADAL" clId="{A05BB8A2-F777-4C67-90C4-ECA215C3DF6E}" dt="2024-03-27T08:40:19.092" v="94" actId="14734"/>
        <pc:sldMkLst>
          <pc:docMk/>
          <pc:sldMk cId="1798394554" sldId="587"/>
        </pc:sldMkLst>
        <pc:graphicFrameChg chg="modGraphic">
          <ac:chgData name="Pudakhe, Vikee (Cognizant)" userId="685ea712-970a-4e39-b64e-d78fa77bbd01" providerId="ADAL" clId="{A05BB8A2-F777-4C67-90C4-ECA215C3DF6E}" dt="2024-03-27T08:40:19.092" v="94" actId="14734"/>
          <ac:graphicFrameMkLst>
            <pc:docMk/>
            <pc:sldMk cId="1798394554" sldId="587"/>
            <ac:graphicFrameMk id="5" creationId="{00000000-0000-0000-0000-000000000000}"/>
          </ac:graphicFrameMkLst>
        </pc:graphicFrameChg>
      </pc:sldChg>
      <pc:sldChg chg="modSp mod">
        <pc:chgData name="Pudakhe, Vikee (Cognizant)" userId="685ea712-970a-4e39-b64e-d78fa77bbd01" providerId="ADAL" clId="{A05BB8A2-F777-4C67-90C4-ECA215C3DF6E}" dt="2024-03-27T08:41:02.353" v="95" actId="207"/>
        <pc:sldMkLst>
          <pc:docMk/>
          <pc:sldMk cId="3056404597" sldId="701"/>
        </pc:sldMkLst>
        <pc:spChg chg="mod">
          <ac:chgData name="Pudakhe, Vikee (Cognizant)" userId="685ea712-970a-4e39-b64e-d78fa77bbd01" providerId="ADAL" clId="{A05BB8A2-F777-4C67-90C4-ECA215C3DF6E}" dt="2024-03-27T08:41:02.353" v="95" actId="207"/>
          <ac:spMkLst>
            <pc:docMk/>
            <pc:sldMk cId="3056404597" sldId="701"/>
            <ac:spMk id="7" creationId="{00000000-0000-0000-0000-000000000000}"/>
          </ac:spMkLst>
        </pc:spChg>
      </pc:sldChg>
      <pc:sldChg chg="modSp mod">
        <pc:chgData name="Pudakhe, Vikee (Cognizant)" userId="685ea712-970a-4e39-b64e-d78fa77bbd01" providerId="ADAL" clId="{A05BB8A2-F777-4C67-90C4-ECA215C3DF6E}" dt="2024-03-27T08:39:20.460" v="92" actId="207"/>
        <pc:sldMkLst>
          <pc:docMk/>
          <pc:sldMk cId="3072000863" sldId="257023"/>
        </pc:sldMkLst>
        <pc:spChg chg="mod">
          <ac:chgData name="Pudakhe, Vikee (Cognizant)" userId="685ea712-970a-4e39-b64e-d78fa77bbd01" providerId="ADAL" clId="{A05BB8A2-F777-4C67-90C4-ECA215C3DF6E}" dt="2024-03-27T08:39:20.460" v="92" actId="207"/>
          <ac:spMkLst>
            <pc:docMk/>
            <pc:sldMk cId="3072000863" sldId="257023"/>
            <ac:spMk id="3" creationId="{E0954E98-CB5B-4D0A-ADD9-B911FF7DAE26}"/>
          </ac:spMkLst>
        </pc:spChg>
      </pc:sldChg>
      <pc:sldChg chg="modSp mod">
        <pc:chgData name="Pudakhe, Vikee (Cognizant)" userId="685ea712-970a-4e39-b64e-d78fa77bbd01" providerId="ADAL" clId="{A05BB8A2-F777-4C67-90C4-ECA215C3DF6E}" dt="2024-03-27T11:22:32.816" v="109" actId="207"/>
        <pc:sldMkLst>
          <pc:docMk/>
          <pc:sldMk cId="1118733831" sldId="257335"/>
        </pc:sldMkLst>
        <pc:graphicFrameChg chg="modGraphic">
          <ac:chgData name="Pudakhe, Vikee (Cognizant)" userId="685ea712-970a-4e39-b64e-d78fa77bbd01" providerId="ADAL" clId="{A05BB8A2-F777-4C67-90C4-ECA215C3DF6E}" dt="2024-03-27T11:22:32.816" v="109" actId="207"/>
          <ac:graphicFrameMkLst>
            <pc:docMk/>
            <pc:sldMk cId="1118733831" sldId="257335"/>
            <ac:graphicFrameMk id="5" creationId="{46B405EF-1F46-435E-9167-EB0970782292}"/>
          </ac:graphicFrameMkLst>
        </pc:graphicFrameChg>
      </pc:sldChg>
      <pc:sldChg chg="delSp modSp mod">
        <pc:chgData name="Pudakhe, Vikee (Cognizant)" userId="685ea712-970a-4e39-b64e-d78fa77bbd01" providerId="ADAL" clId="{A05BB8A2-F777-4C67-90C4-ECA215C3DF6E}" dt="2024-03-19T05:09:41.182" v="79" actId="207"/>
        <pc:sldMkLst>
          <pc:docMk/>
          <pc:sldMk cId="2042081082" sldId="257345"/>
        </pc:sldMkLst>
        <pc:spChg chg="mod">
          <ac:chgData name="Pudakhe, Vikee (Cognizant)" userId="685ea712-970a-4e39-b64e-d78fa77bbd01" providerId="ADAL" clId="{A05BB8A2-F777-4C67-90C4-ECA215C3DF6E}" dt="2024-03-19T05:09:41.182" v="79" actId="207"/>
          <ac:spMkLst>
            <pc:docMk/>
            <pc:sldMk cId="2042081082" sldId="257345"/>
            <ac:spMk id="3" creationId="{C1D0A0AB-0B3F-AB50-C969-F6567E0C5B34}"/>
          </ac:spMkLst>
        </pc:spChg>
        <pc:graphicFrameChg chg="mod modGraphic">
          <ac:chgData name="Pudakhe, Vikee (Cognizant)" userId="685ea712-970a-4e39-b64e-d78fa77bbd01" providerId="ADAL" clId="{A05BB8A2-F777-4C67-90C4-ECA215C3DF6E}" dt="2024-03-19T05:09:21.864" v="78" actId="122"/>
          <ac:graphicFrameMkLst>
            <pc:docMk/>
            <pc:sldMk cId="2042081082" sldId="257345"/>
            <ac:graphicFrameMk id="5" creationId="{37F94F05-37D9-1D2E-73A5-5D176B5F89FA}"/>
          </ac:graphicFrameMkLst>
        </pc:graphicFrameChg>
        <pc:graphicFrameChg chg="del mod modGraphic">
          <ac:chgData name="Pudakhe, Vikee (Cognizant)" userId="685ea712-970a-4e39-b64e-d78fa77bbd01" providerId="ADAL" clId="{A05BB8A2-F777-4C67-90C4-ECA215C3DF6E}" dt="2024-03-19T05:06:59.383" v="55" actId="478"/>
          <ac:graphicFrameMkLst>
            <pc:docMk/>
            <pc:sldMk cId="2042081082" sldId="257345"/>
            <ac:graphicFrameMk id="6" creationId="{44FC56D2-4EB0-9AF9-4C23-99B131AEC94B}"/>
          </ac:graphicFrameMkLst>
        </pc:graphicFrameChg>
        <pc:graphicFrameChg chg="del mod modGraphic">
          <ac:chgData name="Pudakhe, Vikee (Cognizant)" userId="685ea712-970a-4e39-b64e-d78fa77bbd01" providerId="ADAL" clId="{A05BB8A2-F777-4C67-90C4-ECA215C3DF6E}" dt="2024-03-19T05:05:44.495" v="45" actId="478"/>
          <ac:graphicFrameMkLst>
            <pc:docMk/>
            <pc:sldMk cId="2042081082" sldId="257345"/>
            <ac:graphicFrameMk id="7" creationId="{A970BABC-D56F-16AC-17A8-C12587BF563F}"/>
          </ac:graphicFrameMkLst>
        </pc:graphicFrameChg>
      </pc:sldChg>
      <pc:sldChg chg="modSp del mod">
        <pc:chgData name="Pudakhe, Vikee (Cognizant)" userId="685ea712-970a-4e39-b64e-d78fa77bbd01" providerId="ADAL" clId="{A05BB8A2-F777-4C67-90C4-ECA215C3DF6E}" dt="2024-03-27T12:58:24.026" v="153" actId="47"/>
        <pc:sldMkLst>
          <pc:docMk/>
          <pc:sldMk cId="2167384352" sldId="257354"/>
        </pc:sldMkLst>
        <pc:graphicFrameChg chg="mod modGraphic">
          <ac:chgData name="Pudakhe, Vikee (Cognizant)" userId="685ea712-970a-4e39-b64e-d78fa77bbd01" providerId="ADAL" clId="{A05BB8A2-F777-4C67-90C4-ECA215C3DF6E}" dt="2024-03-19T05:00:59.671" v="23" actId="122"/>
          <ac:graphicFrameMkLst>
            <pc:docMk/>
            <pc:sldMk cId="2167384352" sldId="257354"/>
            <ac:graphicFrameMk id="3" creationId="{3491AB4E-FF82-22E0-FCC9-F7BBA3A7DF35}"/>
          </ac:graphicFrameMkLst>
        </pc:graphicFrameChg>
      </pc:sldChg>
      <pc:sldChg chg="modSp del mod">
        <pc:chgData name="Pudakhe, Vikee (Cognizant)" userId="685ea712-970a-4e39-b64e-d78fa77bbd01" providerId="ADAL" clId="{A05BB8A2-F777-4C67-90C4-ECA215C3DF6E}" dt="2024-03-27T12:58:30.689" v="155" actId="47"/>
        <pc:sldMkLst>
          <pc:docMk/>
          <pc:sldMk cId="4274954392" sldId="257355"/>
        </pc:sldMkLst>
        <pc:spChg chg="mod">
          <ac:chgData name="Pudakhe, Vikee (Cognizant)" userId="685ea712-970a-4e39-b64e-d78fa77bbd01" providerId="ADAL" clId="{A05BB8A2-F777-4C67-90C4-ECA215C3DF6E}" dt="2024-03-19T05:02:48.422" v="32" actId="20577"/>
          <ac:spMkLst>
            <pc:docMk/>
            <pc:sldMk cId="4274954392" sldId="257355"/>
            <ac:spMk id="4" creationId="{42BF93CD-D55E-1BFB-7BDB-8198E250883F}"/>
          </ac:spMkLst>
        </pc:spChg>
        <pc:graphicFrameChg chg="mod modGraphic">
          <ac:chgData name="Pudakhe, Vikee (Cognizant)" userId="685ea712-970a-4e39-b64e-d78fa77bbd01" providerId="ADAL" clId="{A05BB8A2-F777-4C67-90C4-ECA215C3DF6E}" dt="2024-03-19T05:03:58.978" v="36" actId="255"/>
          <ac:graphicFrameMkLst>
            <pc:docMk/>
            <pc:sldMk cId="4274954392" sldId="257355"/>
            <ac:graphicFrameMk id="7" creationId="{33BEAF15-6DF7-833F-D4DB-7000BEB7DDFF}"/>
          </ac:graphicFrameMkLst>
        </pc:graphicFrameChg>
      </pc:sldChg>
      <pc:sldChg chg="modSp del mod">
        <pc:chgData name="Pudakhe, Vikee (Cognizant)" userId="685ea712-970a-4e39-b64e-d78fa77bbd01" providerId="ADAL" clId="{A05BB8A2-F777-4C67-90C4-ECA215C3DF6E}" dt="2024-03-27T12:58:28.064" v="154" actId="47"/>
        <pc:sldMkLst>
          <pc:docMk/>
          <pc:sldMk cId="1376624770" sldId="257356"/>
        </pc:sldMkLst>
        <pc:graphicFrameChg chg="mod modGraphic">
          <ac:chgData name="Pudakhe, Vikee (Cognizant)" userId="685ea712-970a-4e39-b64e-d78fa77bbd01" providerId="ADAL" clId="{A05BB8A2-F777-4C67-90C4-ECA215C3DF6E}" dt="2024-03-27T08:36:37.146" v="91" actId="1076"/>
          <ac:graphicFrameMkLst>
            <pc:docMk/>
            <pc:sldMk cId="1376624770" sldId="257356"/>
            <ac:graphicFrameMk id="4" creationId="{033AA4FC-566E-7CE3-CB8B-4370D1F6275A}"/>
          </ac:graphicFrameMkLst>
        </pc:graphicFrameChg>
      </pc:sldChg>
      <pc:sldChg chg="modSp mod">
        <pc:chgData name="Pudakhe, Vikee (Cognizant)" userId="685ea712-970a-4e39-b64e-d78fa77bbd01" providerId="ADAL" clId="{A05BB8A2-F777-4C67-90C4-ECA215C3DF6E}" dt="2024-03-27T08:36:20.836" v="90" actId="1076"/>
        <pc:sldMkLst>
          <pc:docMk/>
          <pc:sldMk cId="1851111295" sldId="257357"/>
        </pc:sldMkLst>
        <pc:graphicFrameChg chg="mod modGraphic">
          <ac:chgData name="Pudakhe, Vikee (Cognizant)" userId="685ea712-970a-4e39-b64e-d78fa77bbd01" providerId="ADAL" clId="{A05BB8A2-F777-4C67-90C4-ECA215C3DF6E}" dt="2024-03-27T08:36:20.836" v="90" actId="1076"/>
          <ac:graphicFrameMkLst>
            <pc:docMk/>
            <pc:sldMk cId="1851111295" sldId="257357"/>
            <ac:graphicFrameMk id="6" creationId="{B42B17AB-19D1-51EF-986B-7DA8567A23C1}"/>
          </ac:graphicFrameMkLst>
        </pc:graphicFrameChg>
      </pc:sldChg>
    </pc:docChg>
  </pc:docChgLst>
  <pc:docChgLst>
    <pc:chgData name="Sandilya, Bukkapatnam (Cognizant)" userId="91935d81-ae94-4e19-9119-901431552062" providerId="ADAL" clId="{B6E76150-0113-4BFF-8B0D-43D9B3BC9F5E}"/>
    <pc:docChg chg="undo redo custSel addSld delSld modSld">
      <pc:chgData name="Sandilya, Bukkapatnam (Cognizant)" userId="91935d81-ae94-4e19-9119-901431552062" providerId="ADAL" clId="{B6E76150-0113-4BFF-8B0D-43D9B3BC9F5E}" dt="2024-03-26T09:37:54.228" v="1748" actId="14734"/>
      <pc:docMkLst>
        <pc:docMk/>
      </pc:docMkLst>
      <pc:sldChg chg="modSp mod">
        <pc:chgData name="Sandilya, Bukkapatnam (Cognizant)" userId="91935d81-ae94-4e19-9119-901431552062" providerId="ADAL" clId="{B6E76150-0113-4BFF-8B0D-43D9B3BC9F5E}" dt="2024-03-25T14:41:40.537" v="1723" actId="20577"/>
        <pc:sldMkLst>
          <pc:docMk/>
          <pc:sldMk cId="1243909798" sldId="703"/>
        </pc:sldMkLst>
        <pc:graphicFrameChg chg="modGraphic">
          <ac:chgData name="Sandilya, Bukkapatnam (Cognizant)" userId="91935d81-ae94-4e19-9119-901431552062" providerId="ADAL" clId="{B6E76150-0113-4BFF-8B0D-43D9B3BC9F5E}" dt="2024-03-25T14:41:40.537" v="1723" actId="20577"/>
          <ac:graphicFrameMkLst>
            <pc:docMk/>
            <pc:sldMk cId="1243909798" sldId="703"/>
            <ac:graphicFrameMk id="2" creationId="{00000000-0000-0000-0000-000000000000}"/>
          </ac:graphicFrameMkLst>
        </pc:graphicFrameChg>
      </pc:sldChg>
      <pc:sldChg chg="modSp mod">
        <pc:chgData name="Sandilya, Bukkapatnam (Cognizant)" userId="91935d81-ae94-4e19-9119-901431552062" providerId="ADAL" clId="{B6E76150-0113-4BFF-8B0D-43D9B3BC9F5E}" dt="2024-03-11T08:23:03.637" v="907" actId="1076"/>
        <pc:sldMkLst>
          <pc:docMk/>
          <pc:sldMk cId="3447581094" sldId="717"/>
        </pc:sldMkLst>
        <pc:spChg chg="mod">
          <ac:chgData name="Sandilya, Bukkapatnam (Cognizant)" userId="91935d81-ae94-4e19-9119-901431552062" providerId="ADAL" clId="{B6E76150-0113-4BFF-8B0D-43D9B3BC9F5E}" dt="2024-03-11T08:23:03.637" v="907" actId="1076"/>
          <ac:spMkLst>
            <pc:docMk/>
            <pc:sldMk cId="3447581094" sldId="717"/>
            <ac:spMk id="29" creationId="{00000000-0000-0000-0000-000000000000}"/>
          </ac:spMkLst>
        </pc:spChg>
        <pc:graphicFrameChg chg="mod modGraphic">
          <ac:chgData name="Sandilya, Bukkapatnam (Cognizant)" userId="91935d81-ae94-4e19-9119-901431552062" providerId="ADAL" clId="{B6E76150-0113-4BFF-8B0D-43D9B3BC9F5E}" dt="2024-03-11T08:23:00.341" v="906" actId="1076"/>
          <ac:graphicFrameMkLst>
            <pc:docMk/>
            <pc:sldMk cId="3447581094" sldId="717"/>
            <ac:graphicFrameMk id="2" creationId="{00000000-0000-0000-0000-000000000000}"/>
          </ac:graphicFrameMkLst>
        </pc:graphicFrameChg>
      </pc:sldChg>
      <pc:sldChg chg="modSp">
        <pc:chgData name="Sandilya, Bukkapatnam (Cognizant)" userId="91935d81-ae94-4e19-9119-901431552062" providerId="ADAL" clId="{B6E76150-0113-4BFF-8B0D-43D9B3BC9F5E}" dt="2024-03-11T15:58:09.201" v="975"/>
        <pc:sldMkLst>
          <pc:docMk/>
          <pc:sldMk cId="3171796909" sldId="730"/>
        </pc:sldMkLst>
        <pc:graphicFrameChg chg="mod">
          <ac:chgData name="Sandilya, Bukkapatnam (Cognizant)" userId="91935d81-ae94-4e19-9119-901431552062" providerId="ADAL" clId="{B6E76150-0113-4BFF-8B0D-43D9B3BC9F5E}" dt="2024-03-11T15:58:09.201" v="975"/>
          <ac:graphicFrameMkLst>
            <pc:docMk/>
            <pc:sldMk cId="3171796909" sldId="730"/>
            <ac:graphicFrameMk id="7" creationId="{00000000-0000-0000-0000-000000000000}"/>
          </ac:graphicFrameMkLst>
        </pc:graphicFrameChg>
      </pc:sldChg>
      <pc:sldChg chg="modSp mod">
        <pc:chgData name="Sandilya, Bukkapatnam (Cognizant)" userId="91935d81-ae94-4e19-9119-901431552062" providerId="ADAL" clId="{B6E76150-0113-4BFF-8B0D-43D9B3BC9F5E}" dt="2024-03-25T14:41:12.159" v="1721" actId="20577"/>
        <pc:sldMkLst>
          <pc:docMk/>
          <pc:sldMk cId="3540179641" sldId="1581"/>
        </pc:sldMkLst>
        <pc:spChg chg="mod">
          <ac:chgData name="Sandilya, Bukkapatnam (Cognizant)" userId="91935d81-ae94-4e19-9119-901431552062" providerId="ADAL" clId="{B6E76150-0113-4BFF-8B0D-43D9B3BC9F5E}" dt="2024-03-25T14:41:12.159" v="1721" actId="20577"/>
          <ac:spMkLst>
            <pc:docMk/>
            <pc:sldMk cId="3540179641" sldId="1581"/>
            <ac:spMk id="98" creationId="{F5EA96A9-4BFB-418D-9AC7-8070A6E7662E}"/>
          </ac:spMkLst>
        </pc:spChg>
      </pc:sldChg>
      <pc:sldChg chg="modSp mod">
        <pc:chgData name="Sandilya, Bukkapatnam (Cognizant)" userId="91935d81-ae94-4e19-9119-901431552062" providerId="ADAL" clId="{B6E76150-0113-4BFF-8B0D-43D9B3BC9F5E}" dt="2024-03-25T14:45:55.725" v="1730" actId="20577"/>
        <pc:sldMkLst>
          <pc:docMk/>
          <pc:sldMk cId="3072000863" sldId="257023"/>
        </pc:sldMkLst>
        <pc:spChg chg="mod">
          <ac:chgData name="Sandilya, Bukkapatnam (Cognizant)" userId="91935d81-ae94-4e19-9119-901431552062" providerId="ADAL" clId="{B6E76150-0113-4BFF-8B0D-43D9B3BC9F5E}" dt="2024-03-25T14:45:55.725" v="1730" actId="20577"/>
          <ac:spMkLst>
            <pc:docMk/>
            <pc:sldMk cId="3072000863" sldId="257023"/>
            <ac:spMk id="2" creationId="{9A2009DE-09BA-4A1D-871E-0908DB9FA885}"/>
          </ac:spMkLst>
        </pc:spChg>
      </pc:sldChg>
      <pc:sldChg chg="modSp mod">
        <pc:chgData name="Sandilya, Bukkapatnam (Cognizant)" userId="91935d81-ae94-4e19-9119-901431552062" providerId="ADAL" clId="{B6E76150-0113-4BFF-8B0D-43D9B3BC9F5E}" dt="2024-03-11T15:23:54.589" v="972" actId="207"/>
        <pc:sldMkLst>
          <pc:docMk/>
          <pc:sldMk cId="1095559774" sldId="257332"/>
        </pc:sldMkLst>
        <pc:spChg chg="mod">
          <ac:chgData name="Sandilya, Bukkapatnam (Cognizant)" userId="91935d81-ae94-4e19-9119-901431552062" providerId="ADAL" clId="{B6E76150-0113-4BFF-8B0D-43D9B3BC9F5E}" dt="2024-03-11T15:23:54.589" v="972" actId="207"/>
          <ac:spMkLst>
            <pc:docMk/>
            <pc:sldMk cId="1095559774" sldId="257332"/>
            <ac:spMk id="2" creationId="{7EA013E6-2C98-B213-BBE4-DB3C39D71315}"/>
          </ac:spMkLst>
        </pc:spChg>
        <pc:spChg chg="mod">
          <ac:chgData name="Sandilya, Bukkapatnam (Cognizant)" userId="91935d81-ae94-4e19-9119-901431552062" providerId="ADAL" clId="{B6E76150-0113-4BFF-8B0D-43D9B3BC9F5E}" dt="2024-03-11T15:23:12.542" v="968" actId="20577"/>
          <ac:spMkLst>
            <pc:docMk/>
            <pc:sldMk cId="1095559774" sldId="257332"/>
            <ac:spMk id="43" creationId="{7659AECE-EB22-4430-BCE8-3675C46ED914}"/>
          </ac:spMkLst>
        </pc:spChg>
        <pc:spChg chg="mod">
          <ac:chgData name="Sandilya, Bukkapatnam (Cognizant)" userId="91935d81-ae94-4e19-9119-901431552062" providerId="ADAL" clId="{B6E76150-0113-4BFF-8B0D-43D9B3BC9F5E}" dt="2024-03-11T15:22:36.142" v="953" actId="207"/>
          <ac:spMkLst>
            <pc:docMk/>
            <pc:sldMk cId="1095559774" sldId="257332"/>
            <ac:spMk id="71" creationId="{CCCE51CD-E200-43CE-9370-6B76C26DDAF8}"/>
          </ac:spMkLst>
        </pc:spChg>
      </pc:sldChg>
      <pc:sldChg chg="modSp mod">
        <pc:chgData name="Sandilya, Bukkapatnam (Cognizant)" userId="91935d81-ae94-4e19-9119-901431552062" providerId="ADAL" clId="{B6E76150-0113-4BFF-8B0D-43D9B3BC9F5E}" dt="2024-03-11T07:34:11.800" v="217" actId="20577"/>
        <pc:sldMkLst>
          <pc:docMk/>
          <pc:sldMk cId="1118733831" sldId="257335"/>
        </pc:sldMkLst>
        <pc:graphicFrameChg chg="modGraphic">
          <ac:chgData name="Sandilya, Bukkapatnam (Cognizant)" userId="91935d81-ae94-4e19-9119-901431552062" providerId="ADAL" clId="{B6E76150-0113-4BFF-8B0D-43D9B3BC9F5E}" dt="2024-03-11T07:34:11.800" v="217" actId="20577"/>
          <ac:graphicFrameMkLst>
            <pc:docMk/>
            <pc:sldMk cId="1118733831" sldId="257335"/>
            <ac:graphicFrameMk id="5" creationId="{46B405EF-1F46-435E-9167-EB0970782292}"/>
          </ac:graphicFrameMkLst>
        </pc:graphicFrameChg>
      </pc:sldChg>
      <pc:sldChg chg="modSp mod">
        <pc:chgData name="Sandilya, Bukkapatnam (Cognizant)" userId="91935d81-ae94-4e19-9119-901431552062" providerId="ADAL" clId="{B6E76150-0113-4BFF-8B0D-43D9B3BC9F5E}" dt="2024-03-11T08:20:51.734" v="905" actId="20577"/>
        <pc:sldMkLst>
          <pc:docMk/>
          <pc:sldMk cId="2952108570" sldId="257337"/>
        </pc:sldMkLst>
        <pc:graphicFrameChg chg="modGraphic">
          <ac:chgData name="Sandilya, Bukkapatnam (Cognizant)" userId="91935d81-ae94-4e19-9119-901431552062" providerId="ADAL" clId="{B6E76150-0113-4BFF-8B0D-43D9B3BC9F5E}" dt="2024-03-11T08:20:51.734" v="905" actId="20577"/>
          <ac:graphicFrameMkLst>
            <pc:docMk/>
            <pc:sldMk cId="2952108570" sldId="257337"/>
            <ac:graphicFrameMk id="7" creationId="{C4E0E544-D332-9CE6-53F3-18FE63056346}"/>
          </ac:graphicFrameMkLst>
        </pc:graphicFrameChg>
      </pc:sldChg>
      <pc:sldChg chg="modSp del mod">
        <pc:chgData name="Sandilya, Bukkapatnam (Cognizant)" userId="91935d81-ae94-4e19-9119-901431552062" providerId="ADAL" clId="{B6E76150-0113-4BFF-8B0D-43D9B3BC9F5E}" dt="2024-03-18T12:02:14.225" v="1246" actId="2696"/>
        <pc:sldMkLst>
          <pc:docMk/>
          <pc:sldMk cId="1831423440" sldId="257340"/>
        </pc:sldMkLst>
        <pc:graphicFrameChg chg="mod modGraphic">
          <ac:chgData name="Sandilya, Bukkapatnam (Cognizant)" userId="91935d81-ae94-4e19-9119-901431552062" providerId="ADAL" clId="{B6E76150-0113-4BFF-8B0D-43D9B3BC9F5E}" dt="2024-03-11T15:21:31.043" v="945" actId="122"/>
          <ac:graphicFrameMkLst>
            <pc:docMk/>
            <pc:sldMk cId="1831423440" sldId="257340"/>
            <ac:graphicFrameMk id="5" creationId="{37F94F05-37D9-1D2E-73A5-5D176B5F89FA}"/>
          </ac:graphicFrameMkLst>
        </pc:graphicFrameChg>
      </pc:sldChg>
      <pc:sldChg chg="del">
        <pc:chgData name="Sandilya, Bukkapatnam (Cognizant)" userId="91935d81-ae94-4e19-9119-901431552062" providerId="ADAL" clId="{B6E76150-0113-4BFF-8B0D-43D9B3BC9F5E}" dt="2024-03-11T07:45:34.297" v="520" actId="2696"/>
        <pc:sldMkLst>
          <pc:docMk/>
          <pc:sldMk cId="1112911643" sldId="257344"/>
        </pc:sldMkLst>
      </pc:sldChg>
      <pc:sldChg chg="addSp delSp modSp mod">
        <pc:chgData name="Sandilya, Bukkapatnam (Cognizant)" userId="91935d81-ae94-4e19-9119-901431552062" providerId="ADAL" clId="{B6E76150-0113-4BFF-8B0D-43D9B3BC9F5E}" dt="2024-03-18T12:02:58.952" v="1264" actId="27636"/>
        <pc:sldMkLst>
          <pc:docMk/>
          <pc:sldMk cId="2042081082" sldId="257345"/>
        </pc:sldMkLst>
        <pc:spChg chg="mod">
          <ac:chgData name="Sandilya, Bukkapatnam (Cognizant)" userId="91935d81-ae94-4e19-9119-901431552062" providerId="ADAL" clId="{B6E76150-0113-4BFF-8B0D-43D9B3BC9F5E}" dt="2024-03-18T12:02:58.952" v="1264" actId="27636"/>
          <ac:spMkLst>
            <pc:docMk/>
            <pc:sldMk cId="2042081082" sldId="257345"/>
            <ac:spMk id="3" creationId="{C1D0A0AB-0B3F-AB50-C969-F6567E0C5B34}"/>
          </ac:spMkLst>
        </pc:spChg>
        <pc:graphicFrameChg chg="add mod">
          <ac:chgData name="Sandilya, Bukkapatnam (Cognizant)" userId="91935d81-ae94-4e19-9119-901431552062" providerId="ADAL" clId="{B6E76150-0113-4BFF-8B0D-43D9B3BC9F5E}" dt="2024-03-11T15:19:49.052" v="932"/>
          <ac:graphicFrameMkLst>
            <pc:docMk/>
            <pc:sldMk cId="2042081082" sldId="257345"/>
            <ac:graphicFrameMk id="2" creationId="{520460C9-C8EC-1FE8-D1CD-2E93F7DD3648}"/>
          </ac:graphicFrameMkLst>
        </pc:graphicFrameChg>
        <pc:graphicFrameChg chg="add del mod modGraphic">
          <ac:chgData name="Sandilya, Bukkapatnam (Cognizant)" userId="91935d81-ae94-4e19-9119-901431552062" providerId="ADAL" clId="{B6E76150-0113-4BFF-8B0D-43D9B3BC9F5E}" dt="2024-03-18T12:01:13.063" v="1239" actId="478"/>
          <ac:graphicFrameMkLst>
            <pc:docMk/>
            <pc:sldMk cId="2042081082" sldId="257345"/>
            <ac:graphicFrameMk id="2" creationId="{F90BCA5E-A337-D57B-B4B8-C114B369098C}"/>
          </ac:graphicFrameMkLst>
        </pc:graphicFrameChg>
        <pc:graphicFrameChg chg="add del mod">
          <ac:chgData name="Sandilya, Bukkapatnam (Cognizant)" userId="91935d81-ae94-4e19-9119-901431552062" providerId="ADAL" clId="{B6E76150-0113-4BFF-8B0D-43D9B3BC9F5E}" dt="2024-03-18T12:00:15.019" v="1228" actId="478"/>
          <ac:graphicFrameMkLst>
            <pc:docMk/>
            <pc:sldMk cId="2042081082" sldId="257345"/>
            <ac:graphicFrameMk id="4" creationId="{D6E2F105-5367-48EC-9E82-45F5723990CE}"/>
          </ac:graphicFrameMkLst>
        </pc:graphicFrameChg>
        <pc:graphicFrameChg chg="mod modGraphic">
          <ac:chgData name="Sandilya, Bukkapatnam (Cognizant)" userId="91935d81-ae94-4e19-9119-901431552062" providerId="ADAL" clId="{B6E76150-0113-4BFF-8B0D-43D9B3BC9F5E}" dt="2024-03-11T15:18:56.700" v="928" actId="122"/>
          <ac:graphicFrameMkLst>
            <pc:docMk/>
            <pc:sldMk cId="2042081082" sldId="257345"/>
            <ac:graphicFrameMk id="5" creationId="{37F94F05-37D9-1D2E-73A5-5D176B5F89FA}"/>
          </ac:graphicFrameMkLst>
        </pc:graphicFrameChg>
        <pc:graphicFrameChg chg="add mod modGraphic">
          <ac:chgData name="Sandilya, Bukkapatnam (Cognizant)" userId="91935d81-ae94-4e19-9119-901431552062" providerId="ADAL" clId="{B6E76150-0113-4BFF-8B0D-43D9B3BC9F5E}" dt="2024-03-18T12:01:26.481" v="1241" actId="1076"/>
          <ac:graphicFrameMkLst>
            <pc:docMk/>
            <pc:sldMk cId="2042081082" sldId="257345"/>
            <ac:graphicFrameMk id="6" creationId="{44FC56D2-4EB0-9AF9-4C23-99B131AEC94B}"/>
          </ac:graphicFrameMkLst>
        </pc:graphicFrameChg>
        <pc:graphicFrameChg chg="add mod modGraphic">
          <ac:chgData name="Sandilya, Bukkapatnam (Cognizant)" userId="91935d81-ae94-4e19-9119-901431552062" providerId="ADAL" clId="{B6E76150-0113-4BFF-8B0D-43D9B3BC9F5E}" dt="2024-03-18T12:02:07.889" v="1245" actId="122"/>
          <ac:graphicFrameMkLst>
            <pc:docMk/>
            <pc:sldMk cId="2042081082" sldId="257345"/>
            <ac:graphicFrameMk id="7" creationId="{A970BABC-D56F-16AC-17A8-C12587BF563F}"/>
          </ac:graphicFrameMkLst>
        </pc:graphicFrameChg>
      </pc:sldChg>
      <pc:sldChg chg="modSp del mod">
        <pc:chgData name="Sandilya, Bukkapatnam (Cognizant)" userId="91935d81-ae94-4e19-9119-901431552062" providerId="ADAL" clId="{B6E76150-0113-4BFF-8B0D-43D9B3BC9F5E}" dt="2024-03-18T11:59:37.956" v="1223" actId="2696"/>
        <pc:sldMkLst>
          <pc:docMk/>
          <pc:sldMk cId="3127550929" sldId="257346"/>
        </pc:sldMkLst>
        <pc:graphicFrameChg chg="mod modGraphic">
          <ac:chgData name="Sandilya, Bukkapatnam (Cognizant)" userId="91935d81-ae94-4e19-9119-901431552062" providerId="ADAL" clId="{B6E76150-0113-4BFF-8B0D-43D9B3BC9F5E}" dt="2024-03-11T15:20:38.795" v="941" actId="14100"/>
          <ac:graphicFrameMkLst>
            <pc:docMk/>
            <pc:sldMk cId="3127550929" sldId="257346"/>
            <ac:graphicFrameMk id="5" creationId="{37F94F05-37D9-1D2E-73A5-5D176B5F89FA}"/>
          </ac:graphicFrameMkLst>
        </pc:graphicFrameChg>
      </pc:sldChg>
      <pc:sldChg chg="modSp mod">
        <pc:chgData name="Sandilya, Bukkapatnam (Cognizant)" userId="91935d81-ae94-4e19-9119-901431552062" providerId="ADAL" clId="{B6E76150-0113-4BFF-8B0D-43D9B3BC9F5E}" dt="2024-03-13T01:42:17.789" v="1150" actId="20577"/>
        <pc:sldMkLst>
          <pc:docMk/>
          <pc:sldMk cId="1748675454" sldId="257347"/>
        </pc:sldMkLst>
        <pc:spChg chg="mod">
          <ac:chgData name="Sandilya, Bukkapatnam (Cognizant)" userId="91935d81-ae94-4e19-9119-901431552062" providerId="ADAL" clId="{B6E76150-0113-4BFF-8B0D-43D9B3BC9F5E}" dt="2024-03-11T07:45:12.957" v="519" actId="1076"/>
          <ac:spMkLst>
            <pc:docMk/>
            <pc:sldMk cId="1748675454" sldId="257347"/>
            <ac:spMk id="5" creationId="{FA6970BB-1DC7-5AB5-D2B2-56F3F3135556}"/>
          </ac:spMkLst>
        </pc:spChg>
        <pc:graphicFrameChg chg="mod modGraphic">
          <ac:chgData name="Sandilya, Bukkapatnam (Cognizant)" userId="91935d81-ae94-4e19-9119-901431552062" providerId="ADAL" clId="{B6E76150-0113-4BFF-8B0D-43D9B3BC9F5E}" dt="2024-03-13T01:42:17.789" v="1150" actId="20577"/>
          <ac:graphicFrameMkLst>
            <pc:docMk/>
            <pc:sldMk cId="1748675454" sldId="257347"/>
            <ac:graphicFrameMk id="9" creationId="{B0B2D3B8-C70C-E037-AE1D-9DC823E90EB2}"/>
          </ac:graphicFrameMkLst>
        </pc:graphicFrameChg>
      </pc:sldChg>
      <pc:sldChg chg="modSp mod">
        <pc:chgData name="Sandilya, Bukkapatnam (Cognizant)" userId="91935d81-ae94-4e19-9119-901431552062" providerId="ADAL" clId="{B6E76150-0113-4BFF-8B0D-43D9B3BC9F5E}" dt="2024-03-11T08:00:56.890" v="611"/>
        <pc:sldMkLst>
          <pc:docMk/>
          <pc:sldMk cId="1213872090" sldId="257350"/>
        </pc:sldMkLst>
        <pc:graphicFrameChg chg="mod modGraphic">
          <ac:chgData name="Sandilya, Bukkapatnam (Cognizant)" userId="91935d81-ae94-4e19-9119-901431552062" providerId="ADAL" clId="{B6E76150-0113-4BFF-8B0D-43D9B3BC9F5E}" dt="2024-03-11T08:00:56.890" v="611"/>
          <ac:graphicFrameMkLst>
            <pc:docMk/>
            <pc:sldMk cId="1213872090" sldId="257350"/>
            <ac:graphicFrameMk id="2" creationId="{00000000-0000-0000-0000-000000000000}"/>
          </ac:graphicFrameMkLst>
        </pc:graphicFrameChg>
      </pc:sldChg>
      <pc:sldChg chg="modSp mod">
        <pc:chgData name="Sandilya, Bukkapatnam (Cognizant)" userId="91935d81-ae94-4e19-9119-901431552062" providerId="ADAL" clId="{B6E76150-0113-4BFF-8B0D-43D9B3BC9F5E}" dt="2024-03-25T14:51:16.451" v="1741" actId="20577"/>
        <pc:sldMkLst>
          <pc:docMk/>
          <pc:sldMk cId="389184605" sldId="257351"/>
        </pc:sldMkLst>
        <pc:spChg chg="mod">
          <ac:chgData name="Sandilya, Bukkapatnam (Cognizant)" userId="91935d81-ae94-4e19-9119-901431552062" providerId="ADAL" clId="{B6E76150-0113-4BFF-8B0D-43D9B3BC9F5E}" dt="2024-03-25T14:51:16.451" v="1741" actId="20577"/>
          <ac:spMkLst>
            <pc:docMk/>
            <pc:sldMk cId="389184605" sldId="257351"/>
            <ac:spMk id="4" creationId="{F8C12CFB-DCAE-E798-9585-FB75E5A71E12}"/>
          </ac:spMkLst>
        </pc:spChg>
      </pc:sldChg>
      <pc:sldChg chg="modSp mod">
        <pc:chgData name="Sandilya, Bukkapatnam (Cognizant)" userId="91935d81-ae94-4e19-9119-901431552062" providerId="ADAL" clId="{B6E76150-0113-4BFF-8B0D-43D9B3BC9F5E}" dt="2024-03-11T07:29:38.688" v="17" actId="20577"/>
        <pc:sldMkLst>
          <pc:docMk/>
          <pc:sldMk cId="1798547615" sldId="257353"/>
        </pc:sldMkLst>
        <pc:graphicFrameChg chg="modGraphic">
          <ac:chgData name="Sandilya, Bukkapatnam (Cognizant)" userId="91935d81-ae94-4e19-9119-901431552062" providerId="ADAL" clId="{B6E76150-0113-4BFF-8B0D-43D9B3BC9F5E}" dt="2024-03-11T07:29:38.688" v="17" actId="20577"/>
          <ac:graphicFrameMkLst>
            <pc:docMk/>
            <pc:sldMk cId="1798547615" sldId="257353"/>
            <ac:graphicFrameMk id="15" creationId="{9DD47CAB-ED6B-66F5-D457-8586C51C0EDF}"/>
          </ac:graphicFrameMkLst>
        </pc:graphicFrameChg>
      </pc:sldChg>
      <pc:sldChg chg="addSp delSp modSp new mod">
        <pc:chgData name="Sandilya, Bukkapatnam (Cognizant)" userId="91935d81-ae94-4e19-9119-901431552062" providerId="ADAL" clId="{B6E76150-0113-4BFF-8B0D-43D9B3BC9F5E}" dt="2024-03-25T02:36:42.928" v="1614" actId="14734"/>
        <pc:sldMkLst>
          <pc:docMk/>
          <pc:sldMk cId="2167384352" sldId="257354"/>
        </pc:sldMkLst>
        <pc:spChg chg="del">
          <ac:chgData name="Sandilya, Bukkapatnam (Cognizant)" userId="91935d81-ae94-4e19-9119-901431552062" providerId="ADAL" clId="{B6E76150-0113-4BFF-8B0D-43D9B3BC9F5E}" dt="2024-03-17T13:15:46.418" v="1152" actId="478"/>
          <ac:spMkLst>
            <pc:docMk/>
            <pc:sldMk cId="2167384352" sldId="257354"/>
            <ac:spMk id="2" creationId="{064FAE23-6E0A-FAA8-FBB5-ACF79A4B3766}"/>
          </ac:spMkLst>
        </pc:spChg>
        <pc:spChg chg="del">
          <ac:chgData name="Sandilya, Bukkapatnam (Cognizant)" userId="91935d81-ae94-4e19-9119-901431552062" providerId="ADAL" clId="{B6E76150-0113-4BFF-8B0D-43D9B3BC9F5E}" dt="2024-03-17T13:16:12.637" v="1157" actId="478"/>
          <ac:spMkLst>
            <pc:docMk/>
            <pc:sldMk cId="2167384352" sldId="257354"/>
            <ac:spMk id="3" creationId="{A29E5BE9-AE17-5A26-E515-2233626ADD52}"/>
          </ac:spMkLst>
        </pc:spChg>
        <pc:spChg chg="add mod">
          <ac:chgData name="Sandilya, Bukkapatnam (Cognizant)" userId="91935d81-ae94-4e19-9119-901431552062" providerId="ADAL" clId="{B6E76150-0113-4BFF-8B0D-43D9B3BC9F5E}" dt="2024-03-18T03:55:57.095" v="1185" actId="20577"/>
          <ac:spMkLst>
            <pc:docMk/>
            <pc:sldMk cId="2167384352" sldId="257354"/>
            <ac:spMk id="4" creationId="{43D302BB-D681-C309-2AE0-1028166D57AF}"/>
          </ac:spMkLst>
        </pc:spChg>
        <pc:graphicFrameChg chg="add del">
          <ac:chgData name="Sandilya, Bukkapatnam (Cognizant)" userId="91935d81-ae94-4e19-9119-901431552062" providerId="ADAL" clId="{B6E76150-0113-4BFF-8B0D-43D9B3BC9F5E}" dt="2024-03-18T03:53:53.881" v="1159" actId="478"/>
          <ac:graphicFrameMkLst>
            <pc:docMk/>
            <pc:sldMk cId="2167384352" sldId="257354"/>
            <ac:graphicFrameMk id="2" creationId="{4B70462F-A185-DF4A-9647-D3ECABFC8489}"/>
          </ac:graphicFrameMkLst>
        </pc:graphicFrameChg>
        <pc:graphicFrameChg chg="add mod modGraphic">
          <ac:chgData name="Sandilya, Bukkapatnam (Cognizant)" userId="91935d81-ae94-4e19-9119-901431552062" providerId="ADAL" clId="{B6E76150-0113-4BFF-8B0D-43D9B3BC9F5E}" dt="2024-03-25T02:36:42.928" v="1614" actId="14734"/>
          <ac:graphicFrameMkLst>
            <pc:docMk/>
            <pc:sldMk cId="2167384352" sldId="257354"/>
            <ac:graphicFrameMk id="3" creationId="{3491AB4E-FF82-22E0-FCC9-F7BBA3A7DF35}"/>
          </ac:graphicFrameMkLst>
        </pc:graphicFrameChg>
        <pc:graphicFrameChg chg="add del">
          <ac:chgData name="Sandilya, Bukkapatnam (Cognizant)" userId="91935d81-ae94-4e19-9119-901431552062" providerId="ADAL" clId="{B6E76150-0113-4BFF-8B0D-43D9B3BC9F5E}" dt="2024-03-18T03:54:53.361" v="1170" actId="478"/>
          <ac:graphicFrameMkLst>
            <pc:docMk/>
            <pc:sldMk cId="2167384352" sldId="257354"/>
            <ac:graphicFrameMk id="5" creationId="{3A20BBAD-418F-B45A-7CA8-F400F1FEA22E}"/>
          </ac:graphicFrameMkLst>
        </pc:graphicFrameChg>
      </pc:sldChg>
      <pc:sldChg chg="addSp delSp modSp new mod">
        <pc:chgData name="Sandilya, Bukkapatnam (Cognizant)" userId="91935d81-ae94-4e19-9119-901431552062" providerId="ADAL" clId="{B6E76150-0113-4BFF-8B0D-43D9B3BC9F5E}" dt="2024-03-18T12:15:06.697" v="1363"/>
        <pc:sldMkLst>
          <pc:docMk/>
          <pc:sldMk cId="4274954392" sldId="257355"/>
        </pc:sldMkLst>
        <pc:spChg chg="del">
          <ac:chgData name="Sandilya, Bukkapatnam (Cognizant)" userId="91935d81-ae94-4e19-9119-901431552062" providerId="ADAL" clId="{B6E76150-0113-4BFF-8B0D-43D9B3BC9F5E}" dt="2024-03-18T12:03:27.440" v="1266" actId="478"/>
          <ac:spMkLst>
            <pc:docMk/>
            <pc:sldMk cId="4274954392" sldId="257355"/>
            <ac:spMk id="2" creationId="{F8F08942-16BE-7AED-C766-1D612F7091EF}"/>
          </ac:spMkLst>
        </pc:spChg>
        <pc:spChg chg="del">
          <ac:chgData name="Sandilya, Bukkapatnam (Cognizant)" userId="91935d81-ae94-4e19-9119-901431552062" providerId="ADAL" clId="{B6E76150-0113-4BFF-8B0D-43D9B3BC9F5E}" dt="2024-03-18T12:03:24.779" v="1265" actId="478"/>
          <ac:spMkLst>
            <pc:docMk/>
            <pc:sldMk cId="4274954392" sldId="257355"/>
            <ac:spMk id="3" creationId="{DDBE8C3B-B9D5-A79A-D55C-C1251BEFCE91}"/>
          </ac:spMkLst>
        </pc:spChg>
        <pc:spChg chg="add mod">
          <ac:chgData name="Sandilya, Bukkapatnam (Cognizant)" userId="91935d81-ae94-4e19-9119-901431552062" providerId="ADAL" clId="{B6E76150-0113-4BFF-8B0D-43D9B3BC9F5E}" dt="2024-03-18T12:03:38.518" v="1275" actId="20577"/>
          <ac:spMkLst>
            <pc:docMk/>
            <pc:sldMk cId="4274954392" sldId="257355"/>
            <ac:spMk id="4" creationId="{42BF93CD-D55E-1BFB-7BDB-8198E250883F}"/>
          </ac:spMkLst>
        </pc:spChg>
        <pc:spChg chg="add del mod">
          <ac:chgData name="Sandilya, Bukkapatnam (Cognizant)" userId="91935d81-ae94-4e19-9119-901431552062" providerId="ADAL" clId="{B6E76150-0113-4BFF-8B0D-43D9B3BC9F5E}" dt="2024-03-18T12:04:02.253" v="1277" actId="478"/>
          <ac:spMkLst>
            <pc:docMk/>
            <pc:sldMk cId="4274954392" sldId="257355"/>
            <ac:spMk id="6" creationId="{88918629-7887-F548-BF17-A21523E0DA68}"/>
          </ac:spMkLst>
        </pc:spChg>
        <pc:graphicFrameChg chg="add del mod">
          <ac:chgData name="Sandilya, Bukkapatnam (Cognizant)" userId="91935d81-ae94-4e19-9119-901431552062" providerId="ADAL" clId="{B6E76150-0113-4BFF-8B0D-43D9B3BC9F5E}" dt="2024-03-18T12:04:02.253" v="1277" actId="478"/>
          <ac:graphicFrameMkLst>
            <pc:docMk/>
            <pc:sldMk cId="4274954392" sldId="257355"/>
            <ac:graphicFrameMk id="5" creationId="{129FAABC-A1F8-4313-D40D-793F749DFEA4}"/>
          </ac:graphicFrameMkLst>
        </pc:graphicFrameChg>
        <pc:graphicFrameChg chg="add mod modGraphic">
          <ac:chgData name="Sandilya, Bukkapatnam (Cognizant)" userId="91935d81-ae94-4e19-9119-901431552062" providerId="ADAL" clId="{B6E76150-0113-4BFF-8B0D-43D9B3BC9F5E}" dt="2024-03-18T12:15:06.697" v="1363"/>
          <ac:graphicFrameMkLst>
            <pc:docMk/>
            <pc:sldMk cId="4274954392" sldId="257355"/>
            <ac:graphicFrameMk id="7" creationId="{33BEAF15-6DF7-833F-D4DB-7000BEB7DDFF}"/>
          </ac:graphicFrameMkLst>
        </pc:graphicFrameChg>
      </pc:sldChg>
      <pc:sldChg chg="addSp delSp modSp new mod">
        <pc:chgData name="Sandilya, Bukkapatnam (Cognizant)" userId="91935d81-ae94-4e19-9119-901431552062" providerId="ADAL" clId="{B6E76150-0113-4BFF-8B0D-43D9B3BC9F5E}" dt="2024-03-26T09:36:52.420" v="1743" actId="2164"/>
        <pc:sldMkLst>
          <pc:docMk/>
          <pc:sldMk cId="1376624770" sldId="257356"/>
        </pc:sldMkLst>
        <pc:spChg chg="del">
          <ac:chgData name="Sandilya, Bukkapatnam (Cognizant)" userId="91935d81-ae94-4e19-9119-901431552062" providerId="ADAL" clId="{B6E76150-0113-4BFF-8B0D-43D9B3BC9F5E}" dt="2024-03-25T02:35:16.779" v="1565" actId="478"/>
          <ac:spMkLst>
            <pc:docMk/>
            <pc:sldMk cId="1376624770" sldId="257356"/>
            <ac:spMk id="2" creationId="{9C86293C-D877-8EE0-EEB9-C1E1EEBBCD60}"/>
          </ac:spMkLst>
        </pc:spChg>
        <pc:spChg chg="del">
          <ac:chgData name="Sandilya, Bukkapatnam (Cognizant)" userId="91935d81-ae94-4e19-9119-901431552062" providerId="ADAL" clId="{B6E76150-0113-4BFF-8B0D-43D9B3BC9F5E}" dt="2024-03-25T02:35:16.779" v="1565" actId="478"/>
          <ac:spMkLst>
            <pc:docMk/>
            <pc:sldMk cId="1376624770" sldId="257356"/>
            <ac:spMk id="3" creationId="{E14AC678-D57F-B100-6002-0FB076ED73DD}"/>
          </ac:spMkLst>
        </pc:spChg>
        <pc:spChg chg="add mod">
          <ac:chgData name="Sandilya, Bukkapatnam (Cognizant)" userId="91935d81-ae94-4e19-9119-901431552062" providerId="ADAL" clId="{B6E76150-0113-4BFF-8B0D-43D9B3BC9F5E}" dt="2024-03-25T02:36:54.069" v="1615"/>
          <ac:spMkLst>
            <pc:docMk/>
            <pc:sldMk cId="1376624770" sldId="257356"/>
            <ac:spMk id="5" creationId="{03DC7F11-AAA8-790E-B964-FF8B823A210C}"/>
          </ac:spMkLst>
        </pc:spChg>
        <pc:graphicFrameChg chg="add mod modGraphic">
          <ac:chgData name="Sandilya, Bukkapatnam (Cognizant)" userId="91935d81-ae94-4e19-9119-901431552062" providerId="ADAL" clId="{B6E76150-0113-4BFF-8B0D-43D9B3BC9F5E}" dt="2024-03-26T09:36:52.420" v="1743" actId="2164"/>
          <ac:graphicFrameMkLst>
            <pc:docMk/>
            <pc:sldMk cId="1376624770" sldId="257356"/>
            <ac:graphicFrameMk id="4" creationId="{033AA4FC-566E-7CE3-CB8B-4370D1F6275A}"/>
          </ac:graphicFrameMkLst>
        </pc:graphicFrameChg>
      </pc:sldChg>
      <pc:sldChg chg="addSp delSp modSp new mod">
        <pc:chgData name="Sandilya, Bukkapatnam (Cognizant)" userId="91935d81-ae94-4e19-9119-901431552062" providerId="ADAL" clId="{B6E76150-0113-4BFF-8B0D-43D9B3BC9F5E}" dt="2024-03-26T09:37:54.228" v="1748" actId="14734"/>
        <pc:sldMkLst>
          <pc:docMk/>
          <pc:sldMk cId="1851111295" sldId="257357"/>
        </pc:sldMkLst>
        <pc:spChg chg="del">
          <ac:chgData name="Sandilya, Bukkapatnam (Cognizant)" userId="91935d81-ae94-4e19-9119-901431552062" providerId="ADAL" clId="{B6E76150-0113-4BFF-8B0D-43D9B3BC9F5E}" dt="2024-03-25T02:37:07.263" v="1617" actId="478"/>
          <ac:spMkLst>
            <pc:docMk/>
            <pc:sldMk cId="1851111295" sldId="257357"/>
            <ac:spMk id="2" creationId="{FCB5CB33-D361-B633-14D4-304D5EEFDE77}"/>
          </ac:spMkLst>
        </pc:spChg>
        <pc:spChg chg="del">
          <ac:chgData name="Sandilya, Bukkapatnam (Cognizant)" userId="91935d81-ae94-4e19-9119-901431552062" providerId="ADAL" clId="{B6E76150-0113-4BFF-8B0D-43D9B3BC9F5E}" dt="2024-03-25T02:37:07.263" v="1617" actId="478"/>
          <ac:spMkLst>
            <pc:docMk/>
            <pc:sldMk cId="1851111295" sldId="257357"/>
            <ac:spMk id="3" creationId="{F98E9793-1B82-84B9-3052-3A15643EC89D}"/>
          </ac:spMkLst>
        </pc:spChg>
        <pc:spChg chg="add mod">
          <ac:chgData name="Sandilya, Bukkapatnam (Cognizant)" userId="91935d81-ae94-4e19-9119-901431552062" providerId="ADAL" clId="{B6E76150-0113-4BFF-8B0D-43D9B3BC9F5E}" dt="2024-03-25T02:37:21.235" v="1618"/>
          <ac:spMkLst>
            <pc:docMk/>
            <pc:sldMk cId="1851111295" sldId="257357"/>
            <ac:spMk id="4" creationId="{E3862214-6564-110D-48DF-7E7855EBC698}"/>
          </ac:spMkLst>
        </pc:spChg>
        <pc:graphicFrameChg chg="add del mod modGraphic">
          <ac:chgData name="Sandilya, Bukkapatnam (Cognizant)" userId="91935d81-ae94-4e19-9119-901431552062" providerId="ADAL" clId="{B6E76150-0113-4BFF-8B0D-43D9B3BC9F5E}" dt="2024-03-25T02:37:47.251" v="1620" actId="478"/>
          <ac:graphicFrameMkLst>
            <pc:docMk/>
            <pc:sldMk cId="1851111295" sldId="257357"/>
            <ac:graphicFrameMk id="5" creationId="{692F242B-C2F0-46D4-2628-1EC71960BC60}"/>
          </ac:graphicFrameMkLst>
        </pc:graphicFrameChg>
        <pc:graphicFrameChg chg="add mod modGraphic">
          <ac:chgData name="Sandilya, Bukkapatnam (Cognizant)" userId="91935d81-ae94-4e19-9119-901431552062" providerId="ADAL" clId="{B6E76150-0113-4BFF-8B0D-43D9B3BC9F5E}" dt="2024-03-26T09:37:54.228" v="1748" actId="14734"/>
          <ac:graphicFrameMkLst>
            <pc:docMk/>
            <pc:sldMk cId="1851111295" sldId="257357"/>
            <ac:graphicFrameMk id="6" creationId="{B42B17AB-19D1-51EF-986B-7DA8567A23C1}"/>
          </ac:graphicFrameMkLst>
        </pc:graphicFrameChg>
      </pc:sldChg>
    </pc:docChg>
  </pc:docChgLst>
  <pc:docChgLst>
    <pc:chgData name="Pudakhe, Vikee (Cognizant)" userId="S::2148815@cognizant.com::685ea712-970a-4e39-b64e-d78fa77bbd01" providerId="AD" clId="Web-{EA89372B-52F4-2968-455E-B07EE31E0DE7}"/>
    <pc:docChg chg="modSld">
      <pc:chgData name="Pudakhe, Vikee (Cognizant)" userId="S::2148815@cognizant.com::685ea712-970a-4e39-b64e-d78fa77bbd01" providerId="AD" clId="Web-{EA89372B-52F4-2968-455E-B07EE31E0DE7}" dt="2024-03-11T14:49:56.383" v="50"/>
      <pc:docMkLst>
        <pc:docMk/>
      </pc:docMkLst>
      <pc:sldChg chg="modSp">
        <pc:chgData name="Pudakhe, Vikee (Cognizant)" userId="S::2148815@cognizant.com::685ea712-970a-4e39-b64e-d78fa77bbd01" providerId="AD" clId="Web-{EA89372B-52F4-2968-455E-B07EE31E0DE7}" dt="2024-03-11T14:49:56.383" v="50"/>
        <pc:sldMkLst>
          <pc:docMk/>
          <pc:sldMk cId="3447581094" sldId="717"/>
        </pc:sldMkLst>
        <pc:graphicFrameChg chg="mod modGraphic">
          <ac:chgData name="Pudakhe, Vikee (Cognizant)" userId="S::2148815@cognizant.com::685ea712-970a-4e39-b64e-d78fa77bbd01" providerId="AD" clId="Web-{EA89372B-52F4-2968-455E-B07EE31E0DE7}" dt="2024-03-11T14:49:56.383" v="50"/>
          <ac:graphicFrameMkLst>
            <pc:docMk/>
            <pc:sldMk cId="3447581094" sldId="717"/>
            <ac:graphicFrameMk id="2" creationId="{00000000-0000-0000-0000-000000000000}"/>
          </ac:graphicFrameMkLst>
        </pc:graphicFrameChg>
      </pc:sldChg>
      <pc:sldChg chg="modSp">
        <pc:chgData name="Pudakhe, Vikee (Cognizant)" userId="S::2148815@cognizant.com::685ea712-970a-4e39-b64e-d78fa77bbd01" providerId="AD" clId="Web-{EA89372B-52F4-2968-455E-B07EE31E0DE7}" dt="2024-03-11T09:09:43.473" v="17" actId="20577"/>
        <pc:sldMkLst>
          <pc:docMk/>
          <pc:sldMk cId="1095559774" sldId="257332"/>
        </pc:sldMkLst>
        <pc:spChg chg="mod">
          <ac:chgData name="Pudakhe, Vikee (Cognizant)" userId="S::2148815@cognizant.com::685ea712-970a-4e39-b64e-d78fa77bbd01" providerId="AD" clId="Web-{EA89372B-52F4-2968-455E-B07EE31E0DE7}" dt="2024-03-11T09:09:34.301" v="16" actId="20577"/>
          <ac:spMkLst>
            <pc:docMk/>
            <pc:sldMk cId="1095559774" sldId="257332"/>
            <ac:spMk id="3" creationId="{A22DC72E-1587-8398-5061-0D2C093AD241}"/>
          </ac:spMkLst>
        </pc:spChg>
        <pc:spChg chg="mod">
          <ac:chgData name="Pudakhe, Vikee (Cognizant)" userId="S::2148815@cognizant.com::685ea712-970a-4e39-b64e-d78fa77bbd01" providerId="AD" clId="Web-{EA89372B-52F4-2968-455E-B07EE31E0DE7}" dt="2024-03-11T09:09:43.473" v="17" actId="20577"/>
          <ac:spMkLst>
            <pc:docMk/>
            <pc:sldMk cId="1095559774" sldId="257332"/>
            <ac:spMk id="33" creationId="{ADAF658C-E17D-421D-A01D-F0A9F622F700}"/>
          </ac:spMkLst>
        </pc:spChg>
      </pc:sldChg>
      <pc:sldChg chg="modSp">
        <pc:chgData name="Pudakhe, Vikee (Cognizant)" userId="S::2148815@cognizant.com::685ea712-970a-4e39-b64e-d78fa77bbd01" providerId="AD" clId="Web-{EA89372B-52F4-2968-455E-B07EE31E0DE7}" dt="2024-03-11T09:11:16.084" v="25"/>
        <pc:sldMkLst>
          <pc:docMk/>
          <pc:sldMk cId="1118733831" sldId="257335"/>
        </pc:sldMkLst>
        <pc:graphicFrameChg chg="mod modGraphic">
          <ac:chgData name="Pudakhe, Vikee (Cognizant)" userId="S::2148815@cognizant.com::685ea712-970a-4e39-b64e-d78fa77bbd01" providerId="AD" clId="Web-{EA89372B-52F4-2968-455E-B07EE31E0DE7}" dt="2024-03-11T09:11:16.084" v="25"/>
          <ac:graphicFrameMkLst>
            <pc:docMk/>
            <pc:sldMk cId="1118733831" sldId="257335"/>
            <ac:graphicFrameMk id="5" creationId="{46B405EF-1F46-435E-9167-EB0970782292}"/>
          </ac:graphicFrameMkLst>
        </pc:graphicFrameChg>
      </pc:sldChg>
      <pc:sldChg chg="modSp">
        <pc:chgData name="Pudakhe, Vikee (Cognizant)" userId="S::2148815@cognizant.com::685ea712-970a-4e39-b64e-d78fa77bbd01" providerId="AD" clId="Web-{EA89372B-52F4-2968-455E-B07EE31E0DE7}" dt="2024-03-11T14:49:19.430" v="35"/>
        <pc:sldMkLst>
          <pc:docMk/>
          <pc:sldMk cId="1213872090" sldId="257350"/>
        </pc:sldMkLst>
        <pc:graphicFrameChg chg="mod modGraphic">
          <ac:chgData name="Pudakhe, Vikee (Cognizant)" userId="S::2148815@cognizant.com::685ea712-970a-4e39-b64e-d78fa77bbd01" providerId="AD" clId="Web-{EA89372B-52F4-2968-455E-B07EE31E0DE7}" dt="2024-03-11T14:49:19.430" v="35"/>
          <ac:graphicFrameMkLst>
            <pc:docMk/>
            <pc:sldMk cId="1213872090" sldId="257350"/>
            <ac:graphicFrameMk id="2" creationId="{00000000-0000-0000-0000-000000000000}"/>
          </ac:graphicFrameMkLst>
        </pc:graphicFrameChg>
      </pc:sldChg>
    </pc:docChg>
  </pc:docChgLst>
  <pc:docChgLst>
    <pc:chgData name="Sun, Jessica" userId="S::jessica.sun@effem.com::a1cfc7a5-f6b9-4e4e-acb1-677740784d8b" providerId="AD" clId="Web-{7217D7B6-35C6-698B-0852-A7F09D81D89A}"/>
    <pc:docChg chg="modSld">
      <pc:chgData name="Sun, Jessica" userId="S::jessica.sun@effem.com::a1cfc7a5-f6b9-4e4e-acb1-677740784d8b" providerId="AD" clId="Web-{7217D7B6-35C6-698B-0852-A7F09D81D89A}" dt="2024-03-28T06:57:35.230" v="84" actId="1076"/>
      <pc:docMkLst>
        <pc:docMk/>
      </pc:docMkLst>
      <pc:sldChg chg="addSp delSp modSp">
        <pc:chgData name="Sun, Jessica" userId="S::jessica.sun@effem.com::a1cfc7a5-f6b9-4e4e-acb1-677740784d8b" providerId="AD" clId="Web-{7217D7B6-35C6-698B-0852-A7F09D81D89A}" dt="2024-03-28T06:57:35.230" v="84" actId="1076"/>
        <pc:sldMkLst>
          <pc:docMk/>
          <pc:sldMk cId="1095559774" sldId="257332"/>
        </pc:sldMkLst>
        <pc:spChg chg="mod">
          <ac:chgData name="Sun, Jessica" userId="S::jessica.sun@effem.com::a1cfc7a5-f6b9-4e4e-acb1-677740784d8b" providerId="AD" clId="Web-{7217D7B6-35C6-698B-0852-A7F09D81D89A}" dt="2024-03-28T06:47:47.274" v="15" actId="14100"/>
          <ac:spMkLst>
            <pc:docMk/>
            <pc:sldMk cId="1095559774" sldId="257332"/>
            <ac:spMk id="2" creationId="{7EA013E6-2C98-B213-BBE4-DB3C39D71315}"/>
          </ac:spMkLst>
        </pc:spChg>
        <pc:spChg chg="mod">
          <ac:chgData name="Sun, Jessica" userId="S::jessica.sun@effem.com::a1cfc7a5-f6b9-4e4e-acb1-677740784d8b" providerId="AD" clId="Web-{7217D7B6-35C6-698B-0852-A7F09D81D89A}" dt="2024-03-28T06:52:35.564" v="65" actId="20577"/>
          <ac:spMkLst>
            <pc:docMk/>
            <pc:sldMk cId="1095559774" sldId="257332"/>
            <ac:spMk id="6" creationId="{DECF6C58-E165-EFC1-929A-31DB5FCBB171}"/>
          </ac:spMkLst>
        </pc:spChg>
        <pc:spChg chg="del mod">
          <ac:chgData name="Sun, Jessica" userId="S::jessica.sun@effem.com::a1cfc7a5-f6b9-4e4e-acb1-677740784d8b" providerId="AD" clId="Web-{7217D7B6-35C6-698B-0852-A7F09D81D89A}" dt="2024-03-28T06:51:16.562" v="51"/>
          <ac:spMkLst>
            <pc:docMk/>
            <pc:sldMk cId="1095559774" sldId="257332"/>
            <ac:spMk id="7" creationId="{1A34908C-C133-2C9A-89B4-36C6454283EB}"/>
          </ac:spMkLst>
        </pc:spChg>
        <pc:spChg chg="mod">
          <ac:chgData name="Sun, Jessica" userId="S::jessica.sun@effem.com::a1cfc7a5-f6b9-4e4e-acb1-677740784d8b" providerId="AD" clId="Web-{7217D7B6-35C6-698B-0852-A7F09D81D89A}" dt="2024-03-28T06:57:33.746" v="80" actId="1076"/>
          <ac:spMkLst>
            <pc:docMk/>
            <pc:sldMk cId="1095559774" sldId="257332"/>
            <ac:spMk id="34" creationId="{2BBBA8F1-FE6A-40C9-BB5C-83D661D640F3}"/>
          </ac:spMkLst>
        </pc:spChg>
        <pc:spChg chg="mod">
          <ac:chgData name="Sun, Jessica" userId="S::jessica.sun@effem.com::a1cfc7a5-f6b9-4e4e-acb1-677740784d8b" providerId="AD" clId="Web-{7217D7B6-35C6-698B-0852-A7F09D81D89A}" dt="2024-03-28T06:57:33.746" v="79" actId="1076"/>
          <ac:spMkLst>
            <pc:docMk/>
            <pc:sldMk cId="1095559774" sldId="257332"/>
            <ac:spMk id="36" creationId="{2F83625F-E9AC-4D66-B7F5-0363FB78BEE7}"/>
          </ac:spMkLst>
        </pc:spChg>
        <pc:spChg chg="add del mod">
          <ac:chgData name="Sun, Jessica" userId="S::jessica.sun@effem.com::a1cfc7a5-f6b9-4e4e-acb1-677740784d8b" providerId="AD" clId="Web-{7217D7B6-35C6-698B-0852-A7F09D81D89A}" dt="2024-03-28T06:49:53.919" v="42" actId="1076"/>
          <ac:spMkLst>
            <pc:docMk/>
            <pc:sldMk cId="1095559774" sldId="257332"/>
            <ac:spMk id="43" creationId="{7659AECE-EB22-4430-BCE8-3675C46ED914}"/>
          </ac:spMkLst>
        </pc:spChg>
        <pc:spChg chg="mod">
          <ac:chgData name="Sun, Jessica" userId="S::jessica.sun@effem.com::a1cfc7a5-f6b9-4e4e-acb1-677740784d8b" providerId="AD" clId="Web-{7217D7B6-35C6-698B-0852-A7F09D81D89A}" dt="2024-03-28T06:53:01.440" v="70" actId="1076"/>
          <ac:spMkLst>
            <pc:docMk/>
            <pc:sldMk cId="1095559774" sldId="257332"/>
            <ac:spMk id="46" creationId="{333C2A45-34FC-422D-8E85-DE8C7E8343BC}"/>
          </ac:spMkLst>
        </pc:spChg>
        <pc:spChg chg="mod">
          <ac:chgData name="Sun, Jessica" userId="S::jessica.sun@effem.com::a1cfc7a5-f6b9-4e4e-acb1-677740784d8b" providerId="AD" clId="Web-{7217D7B6-35C6-698B-0852-A7F09D81D89A}" dt="2024-03-28T06:57:35.230" v="84" actId="1076"/>
          <ac:spMkLst>
            <pc:docMk/>
            <pc:sldMk cId="1095559774" sldId="257332"/>
            <ac:spMk id="47" creationId="{F191CAFF-ACB8-4549-AD9D-ABECE97AD666}"/>
          </ac:spMkLst>
        </pc:spChg>
        <pc:spChg chg="del">
          <ac:chgData name="Sun, Jessica" userId="S::jessica.sun@effem.com::a1cfc7a5-f6b9-4e4e-acb1-677740784d8b" providerId="AD" clId="Web-{7217D7B6-35C6-698B-0852-A7F09D81D89A}" dt="2024-03-28T06:51:13.562" v="50"/>
          <ac:spMkLst>
            <pc:docMk/>
            <pc:sldMk cId="1095559774" sldId="257332"/>
            <ac:spMk id="51" creationId="{67DADC07-74FF-46EA-8C5E-ECA13AF0091E}"/>
          </ac:spMkLst>
        </pc:spChg>
        <pc:spChg chg="mod">
          <ac:chgData name="Sun, Jessica" userId="S::jessica.sun@effem.com::a1cfc7a5-f6b9-4e4e-acb1-677740784d8b" providerId="AD" clId="Web-{7217D7B6-35C6-698B-0852-A7F09D81D89A}" dt="2024-03-28T06:52:52.159" v="69" actId="20577"/>
          <ac:spMkLst>
            <pc:docMk/>
            <pc:sldMk cId="1095559774" sldId="257332"/>
            <ac:spMk id="72" creationId="{19502D9C-2390-4DE6-A144-CEBBB3B53D8A}"/>
          </ac:spMkLst>
        </pc:spChg>
        <pc:spChg chg="mod">
          <ac:chgData name="Sun, Jessica" userId="S::jessica.sun@effem.com::a1cfc7a5-f6b9-4e4e-acb1-677740784d8b" providerId="AD" clId="Web-{7217D7B6-35C6-698B-0852-A7F09D81D89A}" dt="2024-03-28T06:57:33.746" v="83" actId="1076"/>
          <ac:spMkLst>
            <pc:docMk/>
            <pc:sldMk cId="1095559774" sldId="257332"/>
            <ac:spMk id="73" creationId="{A7A9B395-5998-4A20-908F-F4FBDED6693D}"/>
          </ac:spMkLst>
        </pc:spChg>
        <pc:spChg chg="mod">
          <ac:chgData name="Sun, Jessica" userId="S::jessica.sun@effem.com::a1cfc7a5-f6b9-4e4e-acb1-677740784d8b" providerId="AD" clId="Web-{7217D7B6-35C6-698B-0852-A7F09D81D89A}" dt="2024-03-28T06:57:33.746" v="82" actId="1076"/>
          <ac:spMkLst>
            <pc:docMk/>
            <pc:sldMk cId="1095559774" sldId="257332"/>
            <ac:spMk id="74" creationId="{C613B2E4-0693-4AB5-B1CE-1DD40AF0805D}"/>
          </ac:spMkLst>
        </pc:spChg>
        <pc:spChg chg="mod">
          <ac:chgData name="Sun, Jessica" userId="S::jessica.sun@effem.com::a1cfc7a5-f6b9-4e4e-acb1-677740784d8b" providerId="AD" clId="Web-{7217D7B6-35C6-698B-0852-A7F09D81D89A}" dt="2024-03-28T06:57:33.746" v="81" actId="1076"/>
          <ac:spMkLst>
            <pc:docMk/>
            <pc:sldMk cId="1095559774" sldId="257332"/>
            <ac:spMk id="78" creationId="{738884A9-629C-44C2-9E8E-8801A7D734E3}"/>
          </ac:spMkLst>
        </pc:spChg>
        <pc:spChg chg="mod">
          <ac:chgData name="Sun, Jessica" userId="S::jessica.sun@effem.com::a1cfc7a5-f6b9-4e4e-acb1-677740784d8b" providerId="AD" clId="Web-{7217D7B6-35C6-698B-0852-A7F09D81D89A}" dt="2024-03-28T06:51:27.234" v="53" actId="1076"/>
          <ac:spMkLst>
            <pc:docMk/>
            <pc:sldMk cId="1095559774" sldId="257332"/>
            <ac:spMk id="83" creationId="{C21CA98C-5538-40C1-A1E4-DF892D09FA3B}"/>
          </ac:spMkLst>
        </pc:spChg>
        <pc:spChg chg="mod">
          <ac:chgData name="Sun, Jessica" userId="S::jessica.sun@effem.com::a1cfc7a5-f6b9-4e4e-acb1-677740784d8b" providerId="AD" clId="Web-{7217D7B6-35C6-698B-0852-A7F09D81D89A}" dt="2024-03-28T06:52:02.032" v="59" actId="1076"/>
          <ac:spMkLst>
            <pc:docMk/>
            <pc:sldMk cId="1095559774" sldId="257332"/>
            <ac:spMk id="91" creationId="{4BA0261E-B56A-458A-B624-CBC170321507}"/>
          </ac:spMkLst>
        </pc:spChg>
      </pc:sldChg>
    </pc:docChg>
  </pc:docChgLst>
  <pc:docChgLst>
    <pc:chgData name="Pudakhe, Vikee (Cognizant)" userId="685ea712-970a-4e39-b64e-d78fa77bbd01" providerId="ADAL" clId="{7D9963F3-3D9B-4E17-BFC4-3387FC1411C5}"/>
    <pc:docChg chg="undo custSel modSld">
      <pc:chgData name="Pudakhe, Vikee (Cognizant)" userId="685ea712-970a-4e39-b64e-d78fa77bbd01" providerId="ADAL" clId="{7D9963F3-3D9B-4E17-BFC4-3387FC1411C5}" dt="2024-03-11T07:01:31.228" v="61" actId="6549"/>
      <pc:docMkLst>
        <pc:docMk/>
      </pc:docMkLst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2413362481" sldId="410"/>
        </pc:sldMkLst>
        <pc:graphicFrameChg chg="mod">
          <ac:chgData name="Pudakhe, Vikee (Cognizant)" userId="685ea712-970a-4e39-b64e-d78fa77bbd01" providerId="ADAL" clId="{7D9963F3-3D9B-4E17-BFC4-3387FC1411C5}" dt="2024-03-11T06:55:20.064" v="10"/>
          <ac:graphicFrameMkLst>
            <pc:docMk/>
            <pc:sldMk cId="2413362481" sldId="410"/>
            <ac:graphicFrameMk id="4" creationId="{00000000-0000-0000-0000-000000000000}"/>
          </ac:graphicFrameMkLst>
        </pc:graphicFrameChg>
      </pc:sldChg>
      <pc:sldChg chg="modSp mod">
        <pc:chgData name="Pudakhe, Vikee (Cognizant)" userId="685ea712-970a-4e39-b64e-d78fa77bbd01" providerId="ADAL" clId="{7D9963F3-3D9B-4E17-BFC4-3387FC1411C5}" dt="2024-03-11T06:54:40.555" v="9" actId="20577"/>
        <pc:sldMkLst>
          <pc:docMk/>
          <pc:sldMk cId="3983356117" sldId="448"/>
        </pc:sldMkLst>
        <pc:spChg chg="mod">
          <ac:chgData name="Pudakhe, Vikee (Cognizant)" userId="685ea712-970a-4e39-b64e-d78fa77bbd01" providerId="ADAL" clId="{7D9963F3-3D9B-4E17-BFC4-3387FC1411C5}" dt="2024-03-11T06:54:40.555" v="9" actId="20577"/>
          <ac:spMkLst>
            <pc:docMk/>
            <pc:sldMk cId="3983356117" sldId="448"/>
            <ac:spMk id="7" creationId="{00000000-0000-0000-0000-000000000000}"/>
          </ac:spMkLst>
        </pc:sp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3056404597" sldId="701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3056404597" sldId="701"/>
            <ac:spMk id="7" creationId="{00000000-0000-0000-0000-000000000000}"/>
          </ac:spMkLst>
        </pc:sp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1243909798" sldId="703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1243909798" sldId="703"/>
            <ac:spMk id="3" creationId="{91C3B3D0-5935-E3ED-A18E-A03B83701AEF}"/>
          </ac:spMkLst>
        </pc:spChg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1243909798" sldId="703"/>
            <ac:spMk id="29" creationId="{00000000-0000-0000-0000-000000000000}"/>
          </ac:spMkLst>
        </pc:spChg>
        <pc:graphicFrameChg chg="mod">
          <ac:chgData name="Pudakhe, Vikee (Cognizant)" userId="685ea712-970a-4e39-b64e-d78fa77bbd01" providerId="ADAL" clId="{7D9963F3-3D9B-4E17-BFC4-3387FC1411C5}" dt="2024-03-11T06:55:20.064" v="10"/>
          <ac:graphicFrameMkLst>
            <pc:docMk/>
            <pc:sldMk cId="1243909798" sldId="703"/>
            <ac:graphicFrameMk id="2" creationId="{00000000-0000-0000-0000-000000000000}"/>
          </ac:graphicFrameMkLst>
        </pc:graphicFrame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3447581094" sldId="717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3447581094" sldId="717"/>
            <ac:spMk id="29" creationId="{00000000-0000-0000-0000-000000000000}"/>
          </ac:spMkLst>
        </pc:spChg>
        <pc:graphicFrameChg chg="mod">
          <ac:chgData name="Pudakhe, Vikee (Cognizant)" userId="685ea712-970a-4e39-b64e-d78fa77bbd01" providerId="ADAL" clId="{7D9963F3-3D9B-4E17-BFC4-3387FC1411C5}" dt="2024-03-11T06:55:20.064" v="10"/>
          <ac:graphicFrameMkLst>
            <pc:docMk/>
            <pc:sldMk cId="3447581094" sldId="717"/>
            <ac:graphicFrameMk id="2" creationId="{00000000-0000-0000-0000-000000000000}"/>
          </ac:graphicFrameMkLst>
        </pc:graphicFrame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3171796909" sldId="730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3171796909" sldId="730"/>
            <ac:spMk id="29" creationId="{00000000-0000-0000-0000-000000000000}"/>
          </ac:spMkLst>
        </pc:spChg>
        <pc:graphicFrameChg chg="mod">
          <ac:chgData name="Pudakhe, Vikee (Cognizant)" userId="685ea712-970a-4e39-b64e-d78fa77bbd01" providerId="ADAL" clId="{7D9963F3-3D9B-4E17-BFC4-3387FC1411C5}" dt="2024-03-11T06:55:20.064" v="10"/>
          <ac:graphicFrameMkLst>
            <pc:docMk/>
            <pc:sldMk cId="3171796909" sldId="730"/>
            <ac:graphicFrameMk id="7" creationId="{00000000-0000-0000-0000-000000000000}"/>
          </ac:graphicFrameMkLst>
        </pc:graphicFrame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3072000863" sldId="257023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3072000863" sldId="257023"/>
            <ac:spMk id="2" creationId="{9A2009DE-09BA-4A1D-871E-0908DB9FA885}"/>
          </ac:spMkLst>
        </pc:spChg>
      </pc:sldChg>
      <pc:sldChg chg="modSp mod">
        <pc:chgData name="Pudakhe, Vikee (Cognizant)" userId="685ea712-970a-4e39-b64e-d78fa77bbd01" providerId="ADAL" clId="{7D9963F3-3D9B-4E17-BFC4-3387FC1411C5}" dt="2024-03-11T06:58:33.538" v="52"/>
        <pc:sldMkLst>
          <pc:docMk/>
          <pc:sldMk cId="1095559774" sldId="257332"/>
        </pc:sldMkLst>
        <pc:spChg chg="mod">
          <ac:chgData name="Pudakhe, Vikee (Cognizant)" userId="685ea712-970a-4e39-b64e-d78fa77bbd01" providerId="ADAL" clId="{7D9963F3-3D9B-4E17-BFC4-3387FC1411C5}" dt="2024-03-11T06:56:12.291" v="51" actId="20577"/>
          <ac:spMkLst>
            <pc:docMk/>
            <pc:sldMk cId="1095559774" sldId="257332"/>
            <ac:spMk id="3" creationId="{A22DC72E-1587-8398-5061-0D2C093AD241}"/>
          </ac:spMkLst>
        </pc:spChg>
        <pc:spChg chg="mod">
          <ac:chgData name="Pudakhe, Vikee (Cognizant)" userId="685ea712-970a-4e39-b64e-d78fa77bbd01" providerId="ADAL" clId="{7D9963F3-3D9B-4E17-BFC4-3387FC1411C5}" dt="2024-03-11T06:58:33.538" v="52"/>
          <ac:spMkLst>
            <pc:docMk/>
            <pc:sldMk cId="1095559774" sldId="257332"/>
            <ac:spMk id="17" creationId="{FF37559A-1A50-44D4-B372-959084B2BFF0}"/>
          </ac:spMkLst>
        </pc:spChg>
        <pc:spChg chg="mod">
          <ac:chgData name="Pudakhe, Vikee (Cognizant)" userId="685ea712-970a-4e39-b64e-d78fa77bbd01" providerId="ADAL" clId="{7D9963F3-3D9B-4E17-BFC4-3387FC1411C5}" dt="2024-03-11T06:55:43.731" v="20" actId="20577"/>
          <ac:spMkLst>
            <pc:docMk/>
            <pc:sldMk cId="1095559774" sldId="257332"/>
            <ac:spMk id="30" creationId="{E0CCE830-98EB-40D1-B874-A57A5463311E}"/>
          </ac:spMkLst>
        </pc:sp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1118733831" sldId="257335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1118733831" sldId="257335"/>
            <ac:spMk id="3" creationId="{07C82853-8976-46C4-82BA-5D9DB057D538}"/>
          </ac:spMkLst>
        </pc:sp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2952108570" sldId="257337"/>
        </pc:sldMkLst>
        <pc:graphicFrameChg chg="mod">
          <ac:chgData name="Pudakhe, Vikee (Cognizant)" userId="685ea712-970a-4e39-b64e-d78fa77bbd01" providerId="ADAL" clId="{7D9963F3-3D9B-4E17-BFC4-3387FC1411C5}" dt="2024-03-11T06:55:20.064" v="10"/>
          <ac:graphicFrameMkLst>
            <pc:docMk/>
            <pc:sldMk cId="2952108570" sldId="257337"/>
            <ac:graphicFrameMk id="3" creationId="{73E74A33-7159-477F-9F2A-3C2C61AE2F2E}"/>
          </ac:graphicFrameMkLst>
        </pc:graphicFrameChg>
        <pc:graphicFrameChg chg="mod">
          <ac:chgData name="Pudakhe, Vikee (Cognizant)" userId="685ea712-970a-4e39-b64e-d78fa77bbd01" providerId="ADAL" clId="{7D9963F3-3D9B-4E17-BFC4-3387FC1411C5}" dt="2024-03-11T06:55:20.064" v="10"/>
          <ac:graphicFrameMkLst>
            <pc:docMk/>
            <pc:sldMk cId="2952108570" sldId="257337"/>
            <ac:graphicFrameMk id="7" creationId="{C4E0E544-D332-9CE6-53F3-18FE63056346}"/>
          </ac:graphicFrameMkLst>
        </pc:graphicFrame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1831423440" sldId="257340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1831423440" sldId="257340"/>
            <ac:spMk id="3" creationId="{C1D0A0AB-0B3F-AB50-C969-F6567E0C5B34}"/>
          </ac:spMkLst>
        </pc:spChg>
      </pc:sldChg>
      <pc:sldChg chg="modSp mod">
        <pc:chgData name="Pudakhe, Vikee (Cognizant)" userId="685ea712-970a-4e39-b64e-d78fa77bbd01" providerId="ADAL" clId="{7D9963F3-3D9B-4E17-BFC4-3387FC1411C5}" dt="2024-03-11T06:59:27.357" v="56" actId="14100"/>
        <pc:sldMkLst>
          <pc:docMk/>
          <pc:sldMk cId="1112911643" sldId="257344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1112911643" sldId="257344"/>
            <ac:spMk id="5" creationId="{FA6970BB-1DC7-5AB5-D2B2-56F3F3135556}"/>
          </ac:spMkLst>
        </pc:spChg>
        <pc:graphicFrameChg chg="modGraphic">
          <ac:chgData name="Pudakhe, Vikee (Cognizant)" userId="685ea712-970a-4e39-b64e-d78fa77bbd01" providerId="ADAL" clId="{7D9963F3-3D9B-4E17-BFC4-3387FC1411C5}" dt="2024-03-11T06:59:27.357" v="56" actId="14100"/>
          <ac:graphicFrameMkLst>
            <pc:docMk/>
            <pc:sldMk cId="1112911643" sldId="257344"/>
            <ac:graphicFrameMk id="4" creationId="{89918B13-39C7-08EA-18AA-3BCF3AA12295}"/>
          </ac:graphicFrameMkLst>
        </pc:graphicFrame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2042081082" sldId="257345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2042081082" sldId="257345"/>
            <ac:spMk id="3" creationId="{C1D0A0AB-0B3F-AB50-C969-F6567E0C5B34}"/>
          </ac:spMkLst>
        </pc:sp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3127550929" sldId="257346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3127550929" sldId="257346"/>
            <ac:spMk id="3" creationId="{C1D0A0AB-0B3F-AB50-C969-F6567E0C5B34}"/>
          </ac:spMkLst>
        </pc:spChg>
      </pc:sldChg>
      <pc:sldChg chg="modSp mod">
        <pc:chgData name="Pudakhe, Vikee (Cognizant)" userId="685ea712-970a-4e39-b64e-d78fa77bbd01" providerId="ADAL" clId="{7D9963F3-3D9B-4E17-BFC4-3387FC1411C5}" dt="2024-03-11T07:01:31.228" v="61" actId="6549"/>
        <pc:sldMkLst>
          <pc:docMk/>
          <pc:sldMk cId="1748675454" sldId="257347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1748675454" sldId="257347"/>
            <ac:spMk id="5" creationId="{FA6970BB-1DC7-5AB5-D2B2-56F3F3135556}"/>
          </ac:spMkLst>
        </pc:spChg>
        <pc:graphicFrameChg chg="mod modGraphic">
          <ac:chgData name="Pudakhe, Vikee (Cognizant)" userId="685ea712-970a-4e39-b64e-d78fa77bbd01" providerId="ADAL" clId="{7D9963F3-3D9B-4E17-BFC4-3387FC1411C5}" dt="2024-03-11T07:01:31.228" v="61" actId="6549"/>
          <ac:graphicFrameMkLst>
            <pc:docMk/>
            <pc:sldMk cId="1748675454" sldId="257347"/>
            <ac:graphicFrameMk id="9" creationId="{B0B2D3B8-C70C-E037-AE1D-9DC823E90EB2}"/>
          </ac:graphicFrameMkLst>
        </pc:graphicFrame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1213872090" sldId="257350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1213872090" sldId="257350"/>
            <ac:spMk id="29" creationId="{00000000-0000-0000-0000-000000000000}"/>
          </ac:spMkLst>
        </pc:spChg>
        <pc:graphicFrameChg chg="mod">
          <ac:chgData name="Pudakhe, Vikee (Cognizant)" userId="685ea712-970a-4e39-b64e-d78fa77bbd01" providerId="ADAL" clId="{7D9963F3-3D9B-4E17-BFC4-3387FC1411C5}" dt="2024-03-11T06:55:20.064" v="10"/>
          <ac:graphicFrameMkLst>
            <pc:docMk/>
            <pc:sldMk cId="1213872090" sldId="257350"/>
            <ac:graphicFrameMk id="2" creationId="{00000000-0000-0000-0000-000000000000}"/>
          </ac:graphicFrameMkLst>
        </pc:graphicFrameChg>
      </pc:sldChg>
      <pc:sldChg chg="modSp">
        <pc:chgData name="Pudakhe, Vikee (Cognizant)" userId="685ea712-970a-4e39-b64e-d78fa77bbd01" providerId="ADAL" clId="{7D9963F3-3D9B-4E17-BFC4-3387FC1411C5}" dt="2024-03-11T06:55:20.064" v="10"/>
        <pc:sldMkLst>
          <pc:docMk/>
          <pc:sldMk cId="389184605" sldId="257351"/>
        </pc:sldMkLst>
        <pc:spChg chg="mod">
          <ac:chgData name="Pudakhe, Vikee (Cognizant)" userId="685ea712-970a-4e39-b64e-d78fa77bbd01" providerId="ADAL" clId="{7D9963F3-3D9B-4E17-BFC4-3387FC1411C5}" dt="2024-03-11T06:55:20.064" v="10"/>
          <ac:spMkLst>
            <pc:docMk/>
            <pc:sldMk cId="389184605" sldId="257351"/>
            <ac:spMk id="4" creationId="{F8C12CFB-DCAE-E798-9585-FB75E5A71E12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2A4D12F-DF78-4B3F-9399-3CC5398B015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C7654A3-E4C5-4017-AA25-2A78B553C466}">
      <dgm:prSet phldrT="[Text]" custT="1"/>
      <dgm:spPr/>
      <dgm:t>
        <a:bodyPr/>
        <a:lstStyle/>
        <a:p>
          <a:r>
            <a:rPr lang="en-GB" sz="1600" b="0"/>
            <a:t>VERITAS TO GRD</a:t>
          </a:r>
        </a:p>
      </dgm:t>
    </dgm:pt>
    <dgm:pt modelId="{2B850AB7-0035-4B1F-AB38-564C2497A270}" type="parTrans" cxnId="{54E9BA04-AB5D-4876-AB87-290568C8C76D}">
      <dgm:prSet/>
      <dgm:spPr/>
      <dgm:t>
        <a:bodyPr/>
        <a:lstStyle/>
        <a:p>
          <a:endParaRPr lang="en-GB" sz="1200" b="0"/>
        </a:p>
      </dgm:t>
    </dgm:pt>
    <dgm:pt modelId="{62816466-3309-48B4-BA29-8594D2FAB289}" type="sibTrans" cxnId="{54E9BA04-AB5D-4876-AB87-290568C8C76D}">
      <dgm:prSet/>
      <dgm:spPr/>
      <dgm:t>
        <a:bodyPr/>
        <a:lstStyle/>
        <a:p>
          <a:endParaRPr lang="en-GB" sz="1200" b="0"/>
        </a:p>
      </dgm:t>
    </dgm:pt>
    <dgm:pt modelId="{D4DC9F1C-17F8-49FD-9A86-DF87D615B1A8}">
      <dgm:prSet phldrT="[Text]" custT="1"/>
      <dgm:spPr/>
      <dgm:t>
        <a:bodyPr/>
        <a:lstStyle/>
        <a:p>
          <a:r>
            <a:rPr lang="en-GB" sz="1400" b="0"/>
            <a:t>GRD TO BODS-&gt;BODS TO SAP MDG</a:t>
          </a:r>
          <a:endParaRPr lang="en-GB" sz="1400" b="0">
            <a:solidFill>
              <a:schemeClr val="bg1"/>
            </a:solidFill>
            <a:latin typeface="+mn-lt"/>
          </a:endParaRPr>
        </a:p>
      </dgm:t>
    </dgm:pt>
    <dgm:pt modelId="{DB0DE3D7-46F0-48EA-88D9-727DACA75A9B}" type="parTrans" cxnId="{F80746B1-3F3C-4774-8E2F-043ADF16BC5B}">
      <dgm:prSet/>
      <dgm:spPr/>
      <dgm:t>
        <a:bodyPr/>
        <a:lstStyle/>
        <a:p>
          <a:endParaRPr lang="en-GB" sz="1200" b="0"/>
        </a:p>
      </dgm:t>
    </dgm:pt>
    <dgm:pt modelId="{B8B91242-9AFD-436A-9268-AE900D493E1B}" type="sibTrans" cxnId="{F80746B1-3F3C-4774-8E2F-043ADF16BC5B}">
      <dgm:prSet/>
      <dgm:spPr/>
      <dgm:t>
        <a:bodyPr/>
        <a:lstStyle/>
        <a:p>
          <a:endParaRPr lang="en-GB" sz="1200" b="0"/>
        </a:p>
      </dgm:t>
    </dgm:pt>
    <dgm:pt modelId="{D27983AE-CDC3-4AAD-BA2B-9DF9077A97F3}">
      <dgm:prSet phldrT="[Text]" custT="1"/>
      <dgm:spPr/>
      <dgm:t>
        <a:bodyPr/>
        <a:lstStyle/>
        <a:p>
          <a:pPr>
            <a:spcAft>
              <a:spcPts val="0"/>
            </a:spcAft>
          </a:pPr>
          <a:r>
            <a:rPr lang="en-GB" sz="1600" b="0"/>
            <a:t>MDG TO MULESOFT</a:t>
          </a:r>
        </a:p>
      </dgm:t>
    </dgm:pt>
    <dgm:pt modelId="{D935CD0C-0F0A-45ED-8B47-6485AD1AFB2C}" type="parTrans" cxnId="{635F73B4-9821-4349-B312-9300D037FB7D}">
      <dgm:prSet/>
      <dgm:spPr/>
      <dgm:t>
        <a:bodyPr/>
        <a:lstStyle/>
        <a:p>
          <a:endParaRPr lang="en-GB" sz="1200" b="0"/>
        </a:p>
      </dgm:t>
    </dgm:pt>
    <dgm:pt modelId="{2399F4D1-F302-4064-B01C-968B34A90767}" type="sibTrans" cxnId="{635F73B4-9821-4349-B312-9300D037FB7D}">
      <dgm:prSet/>
      <dgm:spPr/>
      <dgm:t>
        <a:bodyPr/>
        <a:lstStyle/>
        <a:p>
          <a:endParaRPr lang="en-GB" sz="1200" b="0"/>
        </a:p>
      </dgm:t>
    </dgm:pt>
    <dgm:pt modelId="{AC6A48EF-C9E8-4856-9F68-4EEF76FC7EBA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GB" sz="1600" b="0"/>
            <a:t>MULESOFT TO GRD</a:t>
          </a:r>
        </a:p>
      </dgm:t>
    </dgm:pt>
    <dgm:pt modelId="{8AD211FF-8E65-4AD6-9EF7-66913FF9330F}" type="parTrans" cxnId="{3EF9E570-1922-446F-B5F5-BC2918CD0970}">
      <dgm:prSet/>
      <dgm:spPr/>
      <dgm:t>
        <a:bodyPr/>
        <a:lstStyle/>
        <a:p>
          <a:endParaRPr lang="en-GB" sz="1200" b="0"/>
        </a:p>
      </dgm:t>
    </dgm:pt>
    <dgm:pt modelId="{E5681F74-413D-4A33-88C6-380924FDEA8E}" type="sibTrans" cxnId="{3EF9E570-1922-446F-B5F5-BC2918CD0970}">
      <dgm:prSet/>
      <dgm:spPr/>
      <dgm:t>
        <a:bodyPr/>
        <a:lstStyle/>
        <a:p>
          <a:endParaRPr lang="en-GB" sz="1200" b="0"/>
        </a:p>
      </dgm:t>
    </dgm:pt>
    <dgm:pt modelId="{7A5386BA-55A9-4588-95E5-6DF1FECF64EF}">
      <dgm:prSet phldrT="[Text]" custT="1"/>
      <dgm:spPr/>
      <dgm:t>
        <a:bodyPr/>
        <a:lstStyle/>
        <a:p>
          <a:r>
            <a:rPr lang="en-GB" sz="1800" b="0">
              <a:solidFill>
                <a:schemeClr val="bg1"/>
              </a:solidFill>
              <a:latin typeface="+mn-lt"/>
            </a:rPr>
            <a:t>MDG TO ATLAS</a:t>
          </a:r>
        </a:p>
      </dgm:t>
    </dgm:pt>
    <dgm:pt modelId="{F9B1F25A-9791-444B-8DBA-A958DDF51155}" type="sibTrans" cxnId="{BD7EB1F4-02F3-4710-876D-4063F68681B0}">
      <dgm:prSet/>
      <dgm:spPr/>
      <dgm:t>
        <a:bodyPr/>
        <a:lstStyle/>
        <a:p>
          <a:endParaRPr lang="en-GB"/>
        </a:p>
      </dgm:t>
    </dgm:pt>
    <dgm:pt modelId="{F2ED8116-2A20-4BF2-A9C4-A8A445B5F786}" type="parTrans" cxnId="{BD7EB1F4-02F3-4710-876D-4063F68681B0}">
      <dgm:prSet/>
      <dgm:spPr/>
      <dgm:t>
        <a:bodyPr/>
        <a:lstStyle/>
        <a:p>
          <a:endParaRPr lang="en-GB"/>
        </a:p>
      </dgm:t>
    </dgm:pt>
    <dgm:pt modelId="{99C8DBED-DD89-4CB6-A7FC-237A6CA28C59}" type="pres">
      <dgm:prSet presAssocID="{32A4D12F-DF78-4B3F-9399-3CC5398B0159}" presName="Name0" presStyleCnt="0">
        <dgm:presLayoutVars>
          <dgm:chMax val="7"/>
          <dgm:chPref val="7"/>
          <dgm:dir/>
        </dgm:presLayoutVars>
      </dgm:prSet>
      <dgm:spPr/>
    </dgm:pt>
    <dgm:pt modelId="{94A61BD7-5360-4785-90C2-AB3ADCB95715}" type="pres">
      <dgm:prSet presAssocID="{32A4D12F-DF78-4B3F-9399-3CC5398B0159}" presName="Name1" presStyleCnt="0"/>
      <dgm:spPr/>
    </dgm:pt>
    <dgm:pt modelId="{1641E2A5-DA85-4A74-819A-280EF9742136}" type="pres">
      <dgm:prSet presAssocID="{32A4D12F-DF78-4B3F-9399-3CC5398B0159}" presName="cycle" presStyleCnt="0"/>
      <dgm:spPr/>
    </dgm:pt>
    <dgm:pt modelId="{622DD60C-E967-488B-922D-A3E122CB1567}" type="pres">
      <dgm:prSet presAssocID="{32A4D12F-DF78-4B3F-9399-3CC5398B0159}" presName="srcNode" presStyleLbl="node1" presStyleIdx="0" presStyleCnt="5"/>
      <dgm:spPr/>
    </dgm:pt>
    <dgm:pt modelId="{10ED9ECB-5722-4477-AD47-771615F254D7}" type="pres">
      <dgm:prSet presAssocID="{32A4D12F-DF78-4B3F-9399-3CC5398B0159}" presName="conn" presStyleLbl="parChTrans1D2" presStyleIdx="0" presStyleCnt="1"/>
      <dgm:spPr/>
    </dgm:pt>
    <dgm:pt modelId="{EDC4F1F1-14AE-4911-A58A-9EC039B7EF60}" type="pres">
      <dgm:prSet presAssocID="{32A4D12F-DF78-4B3F-9399-3CC5398B0159}" presName="extraNode" presStyleLbl="node1" presStyleIdx="0" presStyleCnt="5"/>
      <dgm:spPr/>
    </dgm:pt>
    <dgm:pt modelId="{3A5B8855-2B92-4F13-AAB3-ADF1C0D7D5D7}" type="pres">
      <dgm:prSet presAssocID="{32A4D12F-DF78-4B3F-9399-3CC5398B0159}" presName="dstNode" presStyleLbl="node1" presStyleIdx="0" presStyleCnt="5"/>
      <dgm:spPr/>
    </dgm:pt>
    <dgm:pt modelId="{3B34C117-8F0C-45F9-8F4E-281E2408E847}" type="pres">
      <dgm:prSet presAssocID="{2C7654A3-E4C5-4017-AA25-2A78B553C466}" presName="text_1" presStyleLbl="node1" presStyleIdx="0" presStyleCnt="5">
        <dgm:presLayoutVars>
          <dgm:bulletEnabled val="1"/>
        </dgm:presLayoutVars>
      </dgm:prSet>
      <dgm:spPr/>
    </dgm:pt>
    <dgm:pt modelId="{9EFBFED2-5C6C-4D13-AE2A-45DCBA22F6F1}" type="pres">
      <dgm:prSet presAssocID="{2C7654A3-E4C5-4017-AA25-2A78B553C466}" presName="accent_1" presStyleCnt="0"/>
      <dgm:spPr/>
    </dgm:pt>
    <dgm:pt modelId="{D46E10A6-A713-4798-BC56-723DE8D4160C}" type="pres">
      <dgm:prSet presAssocID="{2C7654A3-E4C5-4017-AA25-2A78B553C466}" presName="accentRepeatNode" presStyleLbl="solidFgAcc1" presStyleIdx="0" presStyleCnt="5"/>
      <dgm:spPr>
        <a:solidFill>
          <a:srgbClr val="002060"/>
        </a:solidFill>
      </dgm:spPr>
    </dgm:pt>
    <dgm:pt modelId="{002EF90E-8D53-427D-823F-7D1EFDF92ACA}" type="pres">
      <dgm:prSet presAssocID="{D4DC9F1C-17F8-49FD-9A86-DF87D615B1A8}" presName="text_2" presStyleLbl="node1" presStyleIdx="1" presStyleCnt="5">
        <dgm:presLayoutVars>
          <dgm:bulletEnabled val="1"/>
        </dgm:presLayoutVars>
      </dgm:prSet>
      <dgm:spPr/>
    </dgm:pt>
    <dgm:pt modelId="{2A62EF09-E8F5-4D65-9506-2C24F583A7A0}" type="pres">
      <dgm:prSet presAssocID="{D4DC9F1C-17F8-49FD-9A86-DF87D615B1A8}" presName="accent_2" presStyleCnt="0"/>
      <dgm:spPr/>
    </dgm:pt>
    <dgm:pt modelId="{9F7886F4-1814-4441-B6BD-3F7D3847040F}" type="pres">
      <dgm:prSet presAssocID="{D4DC9F1C-17F8-49FD-9A86-DF87D615B1A8}" presName="accentRepeatNode" presStyleLbl="solidFgAcc1" presStyleIdx="1" presStyleCnt="5" custLinFactNeighborY="-9477"/>
      <dgm:spPr>
        <a:solidFill>
          <a:srgbClr val="002060"/>
        </a:solidFill>
      </dgm:spPr>
    </dgm:pt>
    <dgm:pt modelId="{064CBC3B-DCAC-4C6F-9CB3-E49BB5A044BC}" type="pres">
      <dgm:prSet presAssocID="{D27983AE-CDC3-4AAD-BA2B-9DF9077A97F3}" presName="text_3" presStyleLbl="node1" presStyleIdx="2" presStyleCnt="5">
        <dgm:presLayoutVars>
          <dgm:bulletEnabled val="1"/>
        </dgm:presLayoutVars>
      </dgm:prSet>
      <dgm:spPr/>
    </dgm:pt>
    <dgm:pt modelId="{B693AAEF-9A62-4C3A-80AC-CEF348651B91}" type="pres">
      <dgm:prSet presAssocID="{D27983AE-CDC3-4AAD-BA2B-9DF9077A97F3}" presName="accent_3" presStyleCnt="0"/>
      <dgm:spPr/>
    </dgm:pt>
    <dgm:pt modelId="{48EF6A17-BBD7-4C13-977D-A5BCA8C46386}" type="pres">
      <dgm:prSet presAssocID="{D27983AE-CDC3-4AAD-BA2B-9DF9077A97F3}" presName="accentRepeatNode" presStyleLbl="solidFgAcc1" presStyleIdx="2" presStyleCnt="5" custLinFactNeighborX="165" custLinFactNeighborY="-8983"/>
      <dgm:spPr>
        <a:solidFill>
          <a:srgbClr val="002060"/>
        </a:solidFill>
      </dgm:spPr>
    </dgm:pt>
    <dgm:pt modelId="{B1A65485-C4BD-4DB6-9069-9428261EACA6}" type="pres">
      <dgm:prSet presAssocID="{AC6A48EF-C9E8-4856-9F68-4EEF76FC7EBA}" presName="text_4" presStyleLbl="node1" presStyleIdx="3" presStyleCnt="5">
        <dgm:presLayoutVars>
          <dgm:bulletEnabled val="1"/>
        </dgm:presLayoutVars>
      </dgm:prSet>
      <dgm:spPr/>
    </dgm:pt>
    <dgm:pt modelId="{7EAB9DF2-159E-4F76-8633-EE1B13131771}" type="pres">
      <dgm:prSet presAssocID="{AC6A48EF-C9E8-4856-9F68-4EEF76FC7EBA}" presName="accent_4" presStyleCnt="0"/>
      <dgm:spPr/>
    </dgm:pt>
    <dgm:pt modelId="{F78CF7A4-FCCC-4942-BD29-027CD7BC3F9B}" type="pres">
      <dgm:prSet presAssocID="{AC6A48EF-C9E8-4856-9F68-4EEF76FC7EBA}" presName="accentRepeatNode" presStyleLbl="solidFgAcc1" presStyleIdx="3" presStyleCnt="5" custScaleX="99988" custScaleY="99988" custLinFactNeighborX="-1468" custLinFactNeighborY="-113"/>
      <dgm:spPr>
        <a:xfrm>
          <a:off x="390463" y="2460423"/>
          <a:ext cx="687701" cy="644984"/>
        </a:xfrm>
        <a:prstGeom prst="flowChartConnector">
          <a:avLst/>
        </a:prstGeom>
        <a:solidFill>
          <a:srgbClr val="002060"/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6E961B94-2658-43C5-AD38-98BEEE5582BD}" type="pres">
      <dgm:prSet presAssocID="{7A5386BA-55A9-4588-95E5-6DF1FECF64EF}" presName="text_5" presStyleLbl="node1" presStyleIdx="4" presStyleCnt="5">
        <dgm:presLayoutVars>
          <dgm:bulletEnabled val="1"/>
        </dgm:presLayoutVars>
      </dgm:prSet>
      <dgm:spPr/>
    </dgm:pt>
    <dgm:pt modelId="{BC74F736-6B6B-4C86-B3CD-902C397A17E0}" type="pres">
      <dgm:prSet presAssocID="{7A5386BA-55A9-4588-95E5-6DF1FECF64EF}" presName="accent_5" presStyleCnt="0"/>
      <dgm:spPr/>
    </dgm:pt>
    <dgm:pt modelId="{366AF9CE-8D00-4930-A0C1-979BF5F58E98}" type="pres">
      <dgm:prSet presAssocID="{7A5386BA-55A9-4588-95E5-6DF1FECF64EF}" presName="accentRepeatNode" presStyleLbl="solidFgAcc1" presStyleIdx="4" presStyleCnt="5" custLinFactNeighborX="-1692" custLinFactNeighborY="4640"/>
      <dgm:spPr>
        <a:solidFill>
          <a:srgbClr val="002060"/>
        </a:solidFill>
      </dgm:spPr>
    </dgm:pt>
  </dgm:ptLst>
  <dgm:cxnLst>
    <dgm:cxn modelId="{54E9BA04-AB5D-4876-AB87-290568C8C76D}" srcId="{32A4D12F-DF78-4B3F-9399-3CC5398B0159}" destId="{2C7654A3-E4C5-4017-AA25-2A78B553C466}" srcOrd="0" destOrd="0" parTransId="{2B850AB7-0035-4B1F-AB38-564C2497A270}" sibTransId="{62816466-3309-48B4-BA29-8594D2FAB289}"/>
    <dgm:cxn modelId="{C3110E26-2665-4563-B4DD-A16C1F87B13B}" type="presOf" srcId="{D27983AE-CDC3-4AAD-BA2B-9DF9077A97F3}" destId="{064CBC3B-DCAC-4C6F-9CB3-E49BB5A044BC}" srcOrd="0" destOrd="0" presId="urn:microsoft.com/office/officeart/2008/layout/VerticalCurvedList"/>
    <dgm:cxn modelId="{53537968-ACA1-4B30-AC23-D2607EE86B50}" type="presOf" srcId="{D4DC9F1C-17F8-49FD-9A86-DF87D615B1A8}" destId="{002EF90E-8D53-427D-823F-7D1EFDF92ACA}" srcOrd="0" destOrd="0" presId="urn:microsoft.com/office/officeart/2008/layout/VerticalCurvedList"/>
    <dgm:cxn modelId="{B3691F4A-AC68-4AEE-8CAF-BCD1C40E9C15}" type="presOf" srcId="{62816466-3309-48B4-BA29-8594D2FAB289}" destId="{10ED9ECB-5722-4477-AD47-771615F254D7}" srcOrd="0" destOrd="0" presId="urn:microsoft.com/office/officeart/2008/layout/VerticalCurvedList"/>
    <dgm:cxn modelId="{16738E6E-C72A-4F1F-9523-C78994B6A4AD}" type="presOf" srcId="{32A4D12F-DF78-4B3F-9399-3CC5398B0159}" destId="{99C8DBED-DD89-4CB6-A7FC-237A6CA28C59}" srcOrd="0" destOrd="0" presId="urn:microsoft.com/office/officeart/2008/layout/VerticalCurvedList"/>
    <dgm:cxn modelId="{3EF9E570-1922-446F-B5F5-BC2918CD0970}" srcId="{32A4D12F-DF78-4B3F-9399-3CC5398B0159}" destId="{AC6A48EF-C9E8-4856-9F68-4EEF76FC7EBA}" srcOrd="3" destOrd="0" parTransId="{8AD211FF-8E65-4AD6-9EF7-66913FF9330F}" sibTransId="{E5681F74-413D-4A33-88C6-380924FDEA8E}"/>
    <dgm:cxn modelId="{F80746B1-3F3C-4774-8E2F-043ADF16BC5B}" srcId="{32A4D12F-DF78-4B3F-9399-3CC5398B0159}" destId="{D4DC9F1C-17F8-49FD-9A86-DF87D615B1A8}" srcOrd="1" destOrd="0" parTransId="{DB0DE3D7-46F0-48EA-88D9-727DACA75A9B}" sibTransId="{B8B91242-9AFD-436A-9268-AE900D493E1B}"/>
    <dgm:cxn modelId="{635F73B4-9821-4349-B312-9300D037FB7D}" srcId="{32A4D12F-DF78-4B3F-9399-3CC5398B0159}" destId="{D27983AE-CDC3-4AAD-BA2B-9DF9077A97F3}" srcOrd="2" destOrd="0" parTransId="{D935CD0C-0F0A-45ED-8B47-6485AD1AFB2C}" sibTransId="{2399F4D1-F302-4064-B01C-968B34A90767}"/>
    <dgm:cxn modelId="{33FA1ACE-CB56-4EE4-AB4A-7D423ECC1517}" type="presOf" srcId="{2C7654A3-E4C5-4017-AA25-2A78B553C466}" destId="{3B34C117-8F0C-45F9-8F4E-281E2408E847}" srcOrd="0" destOrd="0" presId="urn:microsoft.com/office/officeart/2008/layout/VerticalCurvedList"/>
    <dgm:cxn modelId="{80EF60E1-24AE-459E-AD28-810A56FAE068}" type="presOf" srcId="{AC6A48EF-C9E8-4856-9F68-4EEF76FC7EBA}" destId="{B1A65485-C4BD-4DB6-9069-9428261EACA6}" srcOrd="0" destOrd="0" presId="urn:microsoft.com/office/officeart/2008/layout/VerticalCurvedList"/>
    <dgm:cxn modelId="{BD7EB1F4-02F3-4710-876D-4063F68681B0}" srcId="{32A4D12F-DF78-4B3F-9399-3CC5398B0159}" destId="{7A5386BA-55A9-4588-95E5-6DF1FECF64EF}" srcOrd="4" destOrd="0" parTransId="{F2ED8116-2A20-4BF2-A9C4-A8A445B5F786}" sibTransId="{F9B1F25A-9791-444B-8DBA-A958DDF51155}"/>
    <dgm:cxn modelId="{BF7FE7F9-49EF-4966-96B2-22FD7BE13B83}" type="presOf" srcId="{7A5386BA-55A9-4588-95E5-6DF1FECF64EF}" destId="{6E961B94-2658-43C5-AD38-98BEEE5582BD}" srcOrd="0" destOrd="0" presId="urn:microsoft.com/office/officeart/2008/layout/VerticalCurvedList"/>
    <dgm:cxn modelId="{407C5A9E-D426-430A-B3AF-75C3173F3BF3}" type="presParOf" srcId="{99C8DBED-DD89-4CB6-A7FC-237A6CA28C59}" destId="{94A61BD7-5360-4785-90C2-AB3ADCB95715}" srcOrd="0" destOrd="0" presId="urn:microsoft.com/office/officeart/2008/layout/VerticalCurvedList"/>
    <dgm:cxn modelId="{AFA16C54-F62F-4CD1-A677-0495A1CC3249}" type="presParOf" srcId="{94A61BD7-5360-4785-90C2-AB3ADCB95715}" destId="{1641E2A5-DA85-4A74-819A-280EF9742136}" srcOrd="0" destOrd="0" presId="urn:microsoft.com/office/officeart/2008/layout/VerticalCurvedList"/>
    <dgm:cxn modelId="{6E9921E4-CA2D-4A69-AEEB-8DADB58D84B7}" type="presParOf" srcId="{1641E2A5-DA85-4A74-819A-280EF9742136}" destId="{622DD60C-E967-488B-922D-A3E122CB1567}" srcOrd="0" destOrd="0" presId="urn:microsoft.com/office/officeart/2008/layout/VerticalCurvedList"/>
    <dgm:cxn modelId="{E4367264-CD99-451C-B3FB-BEC2A65F8D08}" type="presParOf" srcId="{1641E2A5-DA85-4A74-819A-280EF9742136}" destId="{10ED9ECB-5722-4477-AD47-771615F254D7}" srcOrd="1" destOrd="0" presId="urn:microsoft.com/office/officeart/2008/layout/VerticalCurvedList"/>
    <dgm:cxn modelId="{2CD18690-5415-4FA8-A45A-7F6FE278330E}" type="presParOf" srcId="{1641E2A5-DA85-4A74-819A-280EF9742136}" destId="{EDC4F1F1-14AE-4911-A58A-9EC039B7EF60}" srcOrd="2" destOrd="0" presId="urn:microsoft.com/office/officeart/2008/layout/VerticalCurvedList"/>
    <dgm:cxn modelId="{22C67196-719C-452E-AB58-BC5D3804D887}" type="presParOf" srcId="{1641E2A5-DA85-4A74-819A-280EF9742136}" destId="{3A5B8855-2B92-4F13-AAB3-ADF1C0D7D5D7}" srcOrd="3" destOrd="0" presId="urn:microsoft.com/office/officeart/2008/layout/VerticalCurvedList"/>
    <dgm:cxn modelId="{670A0C5C-3A22-4E2F-AAF4-1893A2D4C8EB}" type="presParOf" srcId="{94A61BD7-5360-4785-90C2-AB3ADCB95715}" destId="{3B34C117-8F0C-45F9-8F4E-281E2408E847}" srcOrd="1" destOrd="0" presId="urn:microsoft.com/office/officeart/2008/layout/VerticalCurvedList"/>
    <dgm:cxn modelId="{69B5ADEE-B444-4B26-A6CC-14F47309E9D7}" type="presParOf" srcId="{94A61BD7-5360-4785-90C2-AB3ADCB95715}" destId="{9EFBFED2-5C6C-4D13-AE2A-45DCBA22F6F1}" srcOrd="2" destOrd="0" presId="urn:microsoft.com/office/officeart/2008/layout/VerticalCurvedList"/>
    <dgm:cxn modelId="{756946E1-24EB-41F9-B913-C6C1E3299471}" type="presParOf" srcId="{9EFBFED2-5C6C-4D13-AE2A-45DCBA22F6F1}" destId="{D46E10A6-A713-4798-BC56-723DE8D4160C}" srcOrd="0" destOrd="0" presId="urn:microsoft.com/office/officeart/2008/layout/VerticalCurvedList"/>
    <dgm:cxn modelId="{BD35E80F-C358-42EE-B412-240C50303089}" type="presParOf" srcId="{94A61BD7-5360-4785-90C2-AB3ADCB95715}" destId="{002EF90E-8D53-427D-823F-7D1EFDF92ACA}" srcOrd="3" destOrd="0" presId="urn:microsoft.com/office/officeart/2008/layout/VerticalCurvedList"/>
    <dgm:cxn modelId="{2923B3AA-4D3B-4BCE-8067-03B63205B45A}" type="presParOf" srcId="{94A61BD7-5360-4785-90C2-AB3ADCB95715}" destId="{2A62EF09-E8F5-4D65-9506-2C24F583A7A0}" srcOrd="4" destOrd="0" presId="urn:microsoft.com/office/officeart/2008/layout/VerticalCurvedList"/>
    <dgm:cxn modelId="{920D6F44-9624-4F0D-B62D-E19438C65A83}" type="presParOf" srcId="{2A62EF09-E8F5-4D65-9506-2C24F583A7A0}" destId="{9F7886F4-1814-4441-B6BD-3F7D3847040F}" srcOrd="0" destOrd="0" presId="urn:microsoft.com/office/officeart/2008/layout/VerticalCurvedList"/>
    <dgm:cxn modelId="{4EFB1DC7-E55F-4DC0-AB73-E96A4EBF72E5}" type="presParOf" srcId="{94A61BD7-5360-4785-90C2-AB3ADCB95715}" destId="{064CBC3B-DCAC-4C6F-9CB3-E49BB5A044BC}" srcOrd="5" destOrd="0" presId="urn:microsoft.com/office/officeart/2008/layout/VerticalCurvedList"/>
    <dgm:cxn modelId="{5C84887E-EDD9-4273-98BD-1280962053E3}" type="presParOf" srcId="{94A61BD7-5360-4785-90C2-AB3ADCB95715}" destId="{B693AAEF-9A62-4C3A-80AC-CEF348651B91}" srcOrd="6" destOrd="0" presId="urn:microsoft.com/office/officeart/2008/layout/VerticalCurvedList"/>
    <dgm:cxn modelId="{99669925-DFC4-4892-B336-551F0902B0C1}" type="presParOf" srcId="{B693AAEF-9A62-4C3A-80AC-CEF348651B91}" destId="{48EF6A17-BBD7-4C13-977D-A5BCA8C46386}" srcOrd="0" destOrd="0" presId="urn:microsoft.com/office/officeart/2008/layout/VerticalCurvedList"/>
    <dgm:cxn modelId="{2C88A326-F0A4-40FB-A74C-E5D0B91807E5}" type="presParOf" srcId="{94A61BD7-5360-4785-90C2-AB3ADCB95715}" destId="{B1A65485-C4BD-4DB6-9069-9428261EACA6}" srcOrd="7" destOrd="0" presId="urn:microsoft.com/office/officeart/2008/layout/VerticalCurvedList"/>
    <dgm:cxn modelId="{DC9E5EF4-7434-4589-AFF7-C72D8FC39ACE}" type="presParOf" srcId="{94A61BD7-5360-4785-90C2-AB3ADCB95715}" destId="{7EAB9DF2-159E-4F76-8633-EE1B13131771}" srcOrd="8" destOrd="0" presId="urn:microsoft.com/office/officeart/2008/layout/VerticalCurvedList"/>
    <dgm:cxn modelId="{C7248597-92E4-469F-A0FE-2EB9B7A8B290}" type="presParOf" srcId="{7EAB9DF2-159E-4F76-8633-EE1B13131771}" destId="{F78CF7A4-FCCC-4942-BD29-027CD7BC3F9B}" srcOrd="0" destOrd="0" presId="urn:microsoft.com/office/officeart/2008/layout/VerticalCurvedList"/>
    <dgm:cxn modelId="{0155DCA9-39FE-45A8-8E92-F64381EA531C}" type="presParOf" srcId="{94A61BD7-5360-4785-90C2-AB3ADCB95715}" destId="{6E961B94-2658-43C5-AD38-98BEEE5582BD}" srcOrd="9" destOrd="0" presId="urn:microsoft.com/office/officeart/2008/layout/VerticalCurvedList"/>
    <dgm:cxn modelId="{AE51F2F9-3128-4E74-92D2-79D8E906138E}" type="presParOf" srcId="{94A61BD7-5360-4785-90C2-AB3ADCB95715}" destId="{BC74F736-6B6B-4C86-B3CD-902C397A17E0}" srcOrd="10" destOrd="0" presId="urn:microsoft.com/office/officeart/2008/layout/VerticalCurvedList"/>
    <dgm:cxn modelId="{5E54E36F-EEC1-4F25-AF1A-8E7D44B3D4E9}" type="presParOf" srcId="{BC74F736-6B6B-4C86-B3CD-902C397A17E0}" destId="{366AF9CE-8D00-4930-A0C1-979BF5F58E9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ED9ECB-5722-4477-AD47-771615F254D7}">
      <dsp:nvSpPr>
        <dsp:cNvPr id="0" name=""/>
        <dsp:cNvSpPr/>
      </dsp:nvSpPr>
      <dsp:spPr>
        <a:xfrm>
          <a:off x="-4505080" y="-690838"/>
          <a:ext cx="5366787" cy="5366787"/>
        </a:xfrm>
        <a:prstGeom prst="blockArc">
          <a:avLst>
            <a:gd name="adj1" fmla="val 18900000"/>
            <a:gd name="adj2" fmla="val 2700000"/>
            <a:gd name="adj3" fmla="val 402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34C117-8F0C-45F9-8F4E-281E2408E847}">
      <dsp:nvSpPr>
        <dsp:cNvPr id="0" name=""/>
        <dsp:cNvSpPr/>
      </dsp:nvSpPr>
      <dsp:spPr>
        <a:xfrm>
          <a:off x="377248" y="248989"/>
          <a:ext cx="2767192" cy="49829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5524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0" kern="1200"/>
            <a:t>VERITAS TO GRD</a:t>
          </a:r>
        </a:p>
      </dsp:txBody>
      <dsp:txXfrm>
        <a:off x="377248" y="248989"/>
        <a:ext cx="2767192" cy="498298"/>
      </dsp:txXfrm>
    </dsp:sp>
    <dsp:sp modelId="{D46E10A6-A713-4798-BC56-723DE8D4160C}">
      <dsp:nvSpPr>
        <dsp:cNvPr id="0" name=""/>
        <dsp:cNvSpPr/>
      </dsp:nvSpPr>
      <dsp:spPr>
        <a:xfrm>
          <a:off x="65811" y="186702"/>
          <a:ext cx="622872" cy="622872"/>
        </a:xfrm>
        <a:prstGeom prst="ellipse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2EF90E-8D53-427D-823F-7D1EFDF92ACA}">
      <dsp:nvSpPr>
        <dsp:cNvPr id="0" name=""/>
        <dsp:cNvSpPr/>
      </dsp:nvSpPr>
      <dsp:spPr>
        <a:xfrm>
          <a:off x="734314" y="996197"/>
          <a:ext cx="2410126" cy="49829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552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kern="1200"/>
            <a:t>GRD TO BODS-&gt;BODS TO SAP MDG</a:t>
          </a:r>
          <a:endParaRPr lang="en-GB" sz="1400" b="0" kern="1200">
            <a:solidFill>
              <a:schemeClr val="bg1"/>
            </a:solidFill>
            <a:latin typeface="+mn-lt"/>
          </a:endParaRPr>
        </a:p>
      </dsp:txBody>
      <dsp:txXfrm>
        <a:off x="734314" y="996197"/>
        <a:ext cx="2410126" cy="498298"/>
      </dsp:txXfrm>
    </dsp:sp>
    <dsp:sp modelId="{9F7886F4-1814-4441-B6BD-3F7D3847040F}">
      <dsp:nvSpPr>
        <dsp:cNvPr id="0" name=""/>
        <dsp:cNvSpPr/>
      </dsp:nvSpPr>
      <dsp:spPr>
        <a:xfrm>
          <a:off x="422877" y="874880"/>
          <a:ext cx="622872" cy="622872"/>
        </a:xfrm>
        <a:prstGeom prst="ellipse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4CBC3B-DCAC-4C6F-9CB3-E49BB5A044BC}">
      <dsp:nvSpPr>
        <dsp:cNvPr id="0" name=""/>
        <dsp:cNvSpPr/>
      </dsp:nvSpPr>
      <dsp:spPr>
        <a:xfrm>
          <a:off x="843904" y="1743405"/>
          <a:ext cx="2300535" cy="49829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5524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600" b="0" kern="1200"/>
            <a:t>MDG TO MULESOFT</a:t>
          </a:r>
        </a:p>
      </dsp:txBody>
      <dsp:txXfrm>
        <a:off x="843904" y="1743405"/>
        <a:ext cx="2300535" cy="498298"/>
      </dsp:txXfrm>
    </dsp:sp>
    <dsp:sp modelId="{48EF6A17-BBD7-4C13-977D-A5BCA8C46386}">
      <dsp:nvSpPr>
        <dsp:cNvPr id="0" name=""/>
        <dsp:cNvSpPr/>
      </dsp:nvSpPr>
      <dsp:spPr>
        <a:xfrm>
          <a:off x="533496" y="1625165"/>
          <a:ext cx="622872" cy="622872"/>
        </a:xfrm>
        <a:prstGeom prst="ellipse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A65485-C4BD-4DB6-9069-9428261EACA6}">
      <dsp:nvSpPr>
        <dsp:cNvPr id="0" name=""/>
        <dsp:cNvSpPr/>
      </dsp:nvSpPr>
      <dsp:spPr>
        <a:xfrm>
          <a:off x="734314" y="2490614"/>
          <a:ext cx="2410126" cy="49829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5524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1600" b="0" kern="1200"/>
            <a:t>MULESOFT TO GRD</a:t>
          </a:r>
        </a:p>
      </dsp:txBody>
      <dsp:txXfrm>
        <a:off x="734314" y="2490614"/>
        <a:ext cx="2410126" cy="498298"/>
      </dsp:txXfrm>
    </dsp:sp>
    <dsp:sp modelId="{F78CF7A4-FCCC-4942-BD29-027CD7BC3F9B}">
      <dsp:nvSpPr>
        <dsp:cNvPr id="0" name=""/>
        <dsp:cNvSpPr/>
      </dsp:nvSpPr>
      <dsp:spPr>
        <a:xfrm>
          <a:off x="413771" y="2427660"/>
          <a:ext cx="622797" cy="622797"/>
        </a:xfrm>
        <a:prstGeom prst="flowChartConnector">
          <a:avLst/>
        </a:prstGeom>
        <a:solidFill>
          <a:srgbClr val="002060"/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961B94-2658-43C5-AD38-98BEEE5582BD}">
      <dsp:nvSpPr>
        <dsp:cNvPr id="0" name=""/>
        <dsp:cNvSpPr/>
      </dsp:nvSpPr>
      <dsp:spPr>
        <a:xfrm>
          <a:off x="377248" y="3237822"/>
          <a:ext cx="2767192" cy="49829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5524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kern="1200">
              <a:solidFill>
                <a:schemeClr val="bg1"/>
              </a:solidFill>
              <a:latin typeface="+mn-lt"/>
            </a:rPr>
            <a:t>MDG TO ATLAS</a:t>
          </a:r>
        </a:p>
      </dsp:txBody>
      <dsp:txXfrm>
        <a:off x="377248" y="3237822"/>
        <a:ext cx="2767192" cy="498298"/>
      </dsp:txXfrm>
    </dsp:sp>
    <dsp:sp modelId="{366AF9CE-8D00-4930-A0C1-979BF5F58E98}">
      <dsp:nvSpPr>
        <dsp:cNvPr id="0" name=""/>
        <dsp:cNvSpPr/>
      </dsp:nvSpPr>
      <dsp:spPr>
        <a:xfrm>
          <a:off x="55272" y="3204436"/>
          <a:ext cx="622872" cy="622872"/>
        </a:xfrm>
        <a:prstGeom prst="ellipse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325E20-0E2F-49F2-9886-8C7585706213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8FE15-8624-4171-BB2D-B4F13C53EA4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8459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9424E2-6D95-4382-8E29-F30743BD501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26046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43C768-37F0-4E80-B0CE-348F991D6507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1597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43276E-2EAE-4FDC-8900-D2518677A4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86208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43C768-37F0-4E80-B0CE-348F991D6507}" type="slidenum">
              <a:rPr lang="en-IN" smtClean="0"/>
              <a:t>1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481196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1C3ECB-CE44-7D49-CD18-9A6DEF00FC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C52E4C-7EC8-6325-AC9D-4A8578E499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3C297A-6BDA-C8ED-E93D-8BF52B2234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59C247-668A-4A2A-8A55-EF011F9B26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2D4BA7-96EA-74E5-F071-CEFCCF764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800493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53654-9E87-3236-972A-DD37D1FDC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FDDA9D-D8E2-5810-A8B1-1B58015A9D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010A7-DC29-3EBF-73FE-BED711961E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ADA5A2-D4B1-CB6C-C7FF-298DC4B41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0202AC-B305-1D01-A7C4-8C5C6CF3B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0187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0D70E16-B5A3-1767-ED8A-6D06EBFD70D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886B7C8-32E8-B05C-266B-B944D8F1C8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2194AB-1991-52F8-9F37-AC14C50DD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15E7C6-FE62-E08E-5834-E5EBAD9DD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5C7274-E8CF-38A1-7A8A-2B936B105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122509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 userDrawn="1"/>
        </p:nvSpPr>
        <p:spPr>
          <a:xfrm>
            <a:off x="4850296" y="0"/>
            <a:ext cx="734170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5495402" y="1643271"/>
            <a:ext cx="5808702" cy="3614530"/>
          </a:xfrm>
        </p:spPr>
        <p:txBody>
          <a:bodyPr anchor="ctr" anchorCtr="0"/>
          <a:lstStyle>
            <a:lvl1pPr algn="l">
              <a:lnSpc>
                <a:spcPct val="83000"/>
              </a:lnSpc>
              <a:defRPr sz="6000" b="0">
                <a:solidFill>
                  <a:schemeClr val="accent2"/>
                </a:solidFill>
              </a:defRPr>
            </a:lvl1pPr>
          </a:lstStyle>
          <a:p>
            <a:r>
              <a:rPr lang="en-GB"/>
              <a:t>Thank you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5648600"/>
            <a:ext cx="3633925" cy="1009375"/>
          </a:xfrm>
        </p:spPr>
        <p:txBody>
          <a:bodyPr anchor="b" anchorCtr="0"/>
          <a:lstStyle>
            <a:lvl1pPr marL="0" indent="0" algn="l">
              <a:buNone/>
              <a:defRPr sz="3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25 May 2019</a:t>
            </a:r>
            <a:endParaRPr lang="en-GB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>
          <a:xfrm>
            <a:off x="407987" y="2997200"/>
            <a:ext cx="4248000" cy="1803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97200" y="6569087"/>
            <a:ext cx="4248000" cy="144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E6A000"/>
                </a:solidFill>
              </a:rPr>
              <a:t>Copyright © 2019 MW — Confidential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6410AC5C-3DB4-43AF-94F2-21100E1751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3774" y="319351"/>
            <a:ext cx="2518996" cy="26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020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0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3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 b="0" i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/>
          </p:nvPr>
        </p:nvSpPr>
        <p:spPr>
          <a:xfrm>
            <a:off x="477693" y="1470584"/>
            <a:ext cx="11186407" cy="45537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" y="6480390"/>
            <a:ext cx="6328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68E7C4-D4E4-4C29-82F8-A95A6A721B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3793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597794"/>
            <a:ext cx="11376024" cy="4601394"/>
          </a:xfrm>
        </p:spPr>
        <p:txBody>
          <a:bodyPr/>
          <a:lstStyle>
            <a:lvl1pPr>
              <a:defRPr>
                <a:solidFill>
                  <a:srgbClr val="0000A0"/>
                </a:solidFill>
              </a:defRPr>
            </a:lvl1pPr>
            <a:lvl2pPr>
              <a:defRPr>
                <a:solidFill>
                  <a:srgbClr val="0000A0"/>
                </a:solidFill>
              </a:defRPr>
            </a:lvl2pPr>
            <a:lvl3pPr>
              <a:defRPr>
                <a:solidFill>
                  <a:srgbClr val="0000A0"/>
                </a:solidFill>
              </a:defRPr>
            </a:lvl3pPr>
            <a:lvl4pPr>
              <a:defRPr>
                <a:solidFill>
                  <a:srgbClr val="0000A0"/>
                </a:solidFill>
              </a:defRPr>
            </a:lvl4pPr>
            <a:lvl5pPr>
              <a:defRPr>
                <a:solidFill>
                  <a:srgbClr val="0000A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2E443B-B651-4838-A5B3-CEE455E85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5C02BA9-ADDA-49AE-98F6-CD6E3DE25F8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863138" y="6545263"/>
            <a:ext cx="44450" cy="44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41798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4134" y="389467"/>
            <a:ext cx="7581296" cy="680208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7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9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66B89-1EF3-67A8-4E3F-AB20A975D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9C2BAE-D84E-AB2C-66DD-3C63786C78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E2A825-E342-01E4-91D3-1DA4DB5479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1E3225-4546-E050-BDA7-99ADABD0D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BC18A8-6F2F-F912-8CF6-FE088BB39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655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8ED027-F7C5-AE0B-F30D-7F3253B9C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03D24C-C237-4C61-40DB-CF409443B6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AAFF19-3CC7-1625-368E-ED49D9C753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295631-34F4-934D-A80C-8408D337F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3B5299-711E-BC64-E19F-8AC3408286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96451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79BAE5-10F1-B7A8-620B-71E71B034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246153-33D5-9C5F-FF45-AC1FFF68C3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3E9946-8032-4696-6459-F97E98AF33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F92F99-2341-A79C-E3E3-C343D827C3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42390F-89E3-8122-3A66-6A92ABDF8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C88A41-B3C7-8CB6-1EB7-951C40A27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001087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11C904-2C7B-C789-5582-D62154B2E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8947DD-141E-6CA3-2D4F-3388CB3552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949D5F-9E5C-460D-4A35-50E8EC814E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553DB3-62E2-6E3D-3674-C5B01375A1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35C910-57E3-2E3A-181A-F688AE9B1E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779F3B-57E4-C319-B916-ED85CFA152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08C967-C8AC-F928-9BF2-DD621352C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6F73AD-3CD0-018D-5F4C-95AB73FA8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52743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E160C0-68B3-A283-EB40-92E4CF5CF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514D88-E9A4-879A-ACC5-6A2779EE69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2422D5-7802-7939-FC07-A93555E04E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42619C-669A-5CDF-4F72-027323E47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59936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0892D5-E5AE-E3C0-5F6A-2A71A18FE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879534-73F6-5E34-5841-ADA3675A42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838083-F025-A04F-19CA-FE4F8AA3B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83103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EC8C5-A177-51DA-23D5-A60818564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CAE8C8-425A-DADA-B8E4-ED228E9763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6CCC02-9235-E6D3-66C6-0F0E18331B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170A73-CE51-C3A5-D4E3-3F57E08A49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206BE8-C97C-90DE-1A3D-943A1BBF6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1A1F94-C57C-BC6E-DDC6-DCACC3FEB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1124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F8AEBD-1745-A15E-E0E7-56046C700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B3EFCA2-BBB3-A282-7EF4-A578B362E0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CFEBA6-A943-8C00-9BA6-28950DE264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6D993E-495E-E293-5E67-15E5944CBE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87190F-6E43-0A6D-0D7E-F3B06D45AE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A7129A-09A2-F4B3-52B4-23EB5813E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2856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83FA1E-F1C2-375A-501F-534854CA02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A80ED7-5BBF-5D5F-E033-6022A495AC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D02ACC-1DA4-FB19-7F6B-CF21B2FD46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303675-000F-4A86-B8DD-843F8A175BB5}" type="datetimeFigureOut">
              <a:rPr lang="en-IN" smtClean="0"/>
              <a:t>28-03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057CC0-8267-EE0E-493C-5782CBEF2F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41DB79-67F3-F605-79BE-690BB34DE4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F75DC9-D638-4ADA-AB1D-E228667AA80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06933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5.png"/><Relationship Id="rId7" Type="http://schemas.openxmlformats.org/officeDocument/2006/relationships/diagramLayout" Target="../diagrams/layout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Relationship Id="rId6" Type="http://schemas.openxmlformats.org/officeDocument/2006/relationships/diagramData" Target="../diagrams/data1.xml"/><Relationship Id="rId5" Type="http://schemas.openxmlformats.org/officeDocument/2006/relationships/image" Target="../media/image7.png"/><Relationship Id="rId10" Type="http://schemas.microsoft.com/office/2007/relationships/diagramDrawing" Target="../diagrams/drawing1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team.effem.com/:x:/r/sites/MDG-MPNEuropeActivationMSTeams/Shared%20Documents/MDG-M%20India%20Pet/3.%20Security/Copy%20of%20Authorization%20Role%20Matrix-%20MDG-M%20PNIN%20-%20Role%20Build%20Security.xlsx?d=w269cf7298ac04c81988da0a0165fb01e&amp;csf=1&amp;web=1&amp;e=zUEWAx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team.effem.com/:p:/r/sites/MDG-MPNEuropeActivationMSTeams/Shared%20Documents/MDG-M%20India%20Pet/2.%20Requirement%20Gathering%20and%20Design/AS%20-%20IS%20and%20%20TO%20-%20BE%20Process%20for%20PNIN/MARS%20Pet%20Nutrition%20India%20AS-IS%20%26%20TO-BE%20Process%20Flow%20for%20VERP%20(2).pptx?d=wce8ad0610ba649b8803f9d860ce12117&amp;csf=1&amp;web=1&amp;e=qFGhFc" TargetMode="External"/><Relationship Id="rId3" Type="http://schemas.openxmlformats.org/officeDocument/2006/relationships/hyperlink" Target="https://team.effem.com/:x:/r/sites/MDG-MPNEuropeActivationMSTeams/Shared%20Documents/MDG-M%20India%20Pet/3.%20Security/Copy%20of%20Authorization%20Role%20Matrix-%20MDG-M%20PNIN%20-%20Role%20Build%20Security.xlsx?d=w269cf7298ac04c81988da0a0165fb01e&amp;csf=1&amp;web=1&amp;e=e3C35S" TargetMode="External"/><Relationship Id="rId7" Type="http://schemas.openxmlformats.org/officeDocument/2006/relationships/hyperlink" Target="https://team.effem.com/:p:/r/sites/MDG-MPNEuropeActivationMSTeams/Shared%20Documents/MDG-M%20India%20Pet/2.%20Requirement%20Gathering%20and%20Design/ZPRM%20Updated%20Global%20Template.pptx?d=w814a1a417b4b4130a51c840c30e25a5a&amp;csf=1&amp;web=1&amp;e=qeue0C" TargetMode="External"/><Relationship Id="rId2" Type="http://schemas.openxmlformats.org/officeDocument/2006/relationships/hyperlink" Target="https://team.effem.com/:x:/r/sites/MDG-MPNEuropeActivationMSTeams/Shared%20Documents/MDG-M%20India%20Pet/2.%20Requirement%20Gathering%20and%20Design/Data%20Profiling/Business%20Rule%20Document%20-%20PN%20INDIA.xlsx?d=wac0b6f88de394925b8dfc46eed5eb8a8&amp;csf=1&amp;web=1&amp;e=poXVAk" TargetMode="Externa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team.effem.com/:p:/r/sites/MDG-MPNEuropeActivationMSTeams/Shared%20Documents/MDG-M%20India%20Pet/2.%20Requirement%20Gathering%20and%20Design/UNBW%20Material%20-%20Global%20Scenario%20Rules.pptx?d=wd6815f0c9aa74fa1926a67f69e41103a&amp;csf=1&amp;web=1&amp;e=jR804S" TargetMode="External"/><Relationship Id="rId5" Type="http://schemas.openxmlformats.org/officeDocument/2006/relationships/hyperlink" Target="https://team.effem.com/:p:/r/sites/MDG-MPNEuropeActivationMSTeams/Shared%20Documents/MDG-M%20India%20Pet/2.%20Requirement%20Gathering%20and%20Design/Global%20Config%20Template%20-%20(NLAG,PIPE).pptx?d=wbf9045e939064430a41b261dac915630&amp;csf=1&amp;web=1&amp;e=tD6uoT" TargetMode="External"/><Relationship Id="rId10" Type="http://schemas.openxmlformats.org/officeDocument/2006/relationships/hyperlink" Target="https://team.effem.com/:p:/r/sites/MDG-MPNEuropeActivationMSTeams/Shared%20Documents/MDG-M%20India%20Pet/2.%20Requirement%20Gathering%20and%20Design/AS%20-%20IS%20and%20%20TO%20-%20BE%20Process%20for%20PNIN/MARS%20Pet%20Nutrition%20India%20AS-IS%20%26%20TO-BE%20Process%20Flow%20for%20FERT.pptx?d=wf0b1f9e1415c41338ee1d15f43481708&amp;csf=1&amp;web=1&amp;e=AEqwyy" TargetMode="External"/><Relationship Id="rId4" Type="http://schemas.openxmlformats.org/officeDocument/2006/relationships/hyperlink" Target="https://team.effem.com/:w:/r/sites/MDG-MPNEuropeActivationMSTeams/Shared%20Documents/MDG-M%20India%20Pet/2.%20Requirement%20Gathering%20and%20Design/Functional%20Specification/India%20Pet-%20Functional%20Specification.docx?d=w24fd220803724e4f95b818ed0984e0a1&amp;csf=1&amp;web=1&amp;e=czQ1Mz" TargetMode="External"/><Relationship Id="rId9" Type="http://schemas.openxmlformats.org/officeDocument/2006/relationships/hyperlink" Target="https://team.effem.com/:p:/r/sites/MDG-MPNEuropeActivationMSTeams/Shared%20Documents/MDG-M%20India%20Pet/2.%20Requirement%20Gathering%20and%20Design/AS%20-%20IS%20and%20%20TO%20-%20BE%20Process%20for%20PNIN/MARS%20Pet%20Nutrition%20India%20AS-IS%20%26%20TO-BE%20Process%20Flow%20for%20ROH.pptx?d=w13766488136146a3892944d247738dff&amp;csf=1&amp;web=1&amp;e=ojVwvp" TargetMode="Externa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mailto:kanika.shivhare@effem.com" TargetMode="External"/><Relationship Id="rId3" Type="http://schemas.openxmlformats.org/officeDocument/2006/relationships/hyperlink" Target="mailto:jessica.sun@effem.com" TargetMode="External"/><Relationship Id="rId7" Type="http://schemas.openxmlformats.org/officeDocument/2006/relationships/hyperlink" Target="mailto:gurupyara.vasa@effem.com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hyperlink" Target="mailto:venu.venna@effem.com" TargetMode="External"/><Relationship Id="rId5" Type="http://schemas.openxmlformats.org/officeDocument/2006/relationships/hyperlink" Target="mailto:vijayasimha.reddy@effem.com" TargetMode="External"/><Relationship Id="rId4" Type="http://schemas.openxmlformats.org/officeDocument/2006/relationships/hyperlink" Target="mailto:mallesham.doragolla@effem.com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6">
            <a:extLst>
              <a:ext uri="{FF2B5EF4-FFF2-40B4-BE49-F238E27FC236}">
                <a16:creationId xmlns:a16="http://schemas.microsoft.com/office/drawing/2014/main" id="{CDA777BE-A3D6-479F-87A2-E581A9045A16}"/>
              </a:ext>
            </a:extLst>
          </p:cNvPr>
          <p:cNvSpPr txBox="1">
            <a:spLocks/>
          </p:cNvSpPr>
          <p:nvPr/>
        </p:nvSpPr>
        <p:spPr>
          <a:xfrm>
            <a:off x="264297" y="6079502"/>
            <a:ext cx="3633925" cy="52060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3000" b="1" kern="1200" spc="0" baseline="0">
                <a:solidFill>
                  <a:schemeClr val="tx2"/>
                </a:solidFill>
                <a:latin typeface="+mn-lt"/>
                <a:ea typeface="Mars Centra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0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tx2"/>
              </a:buClr>
              <a:buFont typeface="Mars Centra" pitchFamily="2" charset="0"/>
              <a:buNone/>
              <a:defRPr sz="16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>
                <a:solidFill>
                  <a:srgbClr val="0000A0"/>
                </a:solidFill>
                <a:latin typeface="Mars Centra"/>
              </a:rPr>
              <a:t>April 2024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uLnTx/>
              <a:uFillTx/>
              <a:latin typeface="Mars Centra"/>
              <a:cs typeface="+mn-cs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5220065" y="1533543"/>
            <a:ext cx="6596015" cy="3614530"/>
          </a:xfrm>
        </p:spPr>
        <p:txBody>
          <a:bodyPr>
            <a:normAutofit/>
          </a:bodyPr>
          <a:lstStyle/>
          <a:p>
            <a:r>
              <a:rPr lang="en-US" sz="50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DG-M APAC : PNIN Deployment</a:t>
            </a:r>
            <a:br>
              <a:rPr lang="en-US" sz="50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en-US" sz="50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50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T to Support Team</a:t>
            </a:r>
            <a:endParaRPr lang="en-US" sz="500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Slide Number"/>
          <p:cNvSpPr txBox="1"/>
          <p:nvPr/>
        </p:nvSpPr>
        <p:spPr>
          <a:xfrm>
            <a:off x="381000" y="6477000"/>
            <a:ext cx="226822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Arial" panose="020B0604020202020204" pitchFamily="34" charset="0"/>
              </a:rPr>
              <a:t>88</a:t>
            </a:r>
          </a:p>
        </p:txBody>
      </p:sp>
      <p:sp>
        <p:nvSpPr>
          <p:cNvPr id="3" name="Rectangle 2"/>
          <p:cNvSpPr/>
          <p:nvPr/>
        </p:nvSpPr>
        <p:spPr>
          <a:xfrm>
            <a:off x="1371692" y="146304"/>
            <a:ext cx="1627632" cy="603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356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FA6970BB-1DC7-5AB5-D2B2-56F3F3135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76" y="142240"/>
            <a:ext cx="11112447" cy="481781"/>
          </a:xfrm>
        </p:spPr>
        <p:txBody>
          <a:bodyPr>
            <a:normAutofit fontScale="90000"/>
          </a:bodyPr>
          <a:lstStyle/>
          <a:p>
            <a:r>
              <a:rPr lang="fr-FR" sz="3000" b="1" u="sng">
                <a:solidFill>
                  <a:srgbClr val="0000A0"/>
                </a:solidFill>
                <a:latin typeface="Mars Centra Extrabold"/>
              </a:rPr>
              <a:t>Scenario Descriptions – PNIN(PIPE, NLAG, UNBW, ZPRM, VERP, ROH,FERT)</a:t>
            </a:r>
            <a:endParaRPr lang="en-IN" sz="3000" b="1" u="sng">
              <a:solidFill>
                <a:srgbClr val="0000A0"/>
              </a:solidFill>
              <a:latin typeface="Mars Centra Extrabold"/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B0B2D3B8-C70C-E037-AE1D-9DC823E90EB2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700862595"/>
              </p:ext>
            </p:extLst>
          </p:nvPr>
        </p:nvGraphicFramePr>
        <p:xfrm>
          <a:off x="1511144" y="624021"/>
          <a:ext cx="8394856" cy="5844669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753708">
                  <a:extLst>
                    <a:ext uri="{9D8B030D-6E8A-4147-A177-3AD203B41FA5}">
                      <a16:colId xmlns:a16="http://schemas.microsoft.com/office/drawing/2014/main" val="4174615173"/>
                    </a:ext>
                  </a:extLst>
                </a:gridCol>
                <a:gridCol w="2072958">
                  <a:extLst>
                    <a:ext uri="{9D8B030D-6E8A-4147-A177-3AD203B41FA5}">
                      <a16:colId xmlns:a16="http://schemas.microsoft.com/office/drawing/2014/main" val="1265284457"/>
                    </a:ext>
                  </a:extLst>
                </a:gridCol>
                <a:gridCol w="4568190">
                  <a:extLst>
                    <a:ext uri="{9D8B030D-6E8A-4147-A177-3AD203B41FA5}">
                      <a16:colId xmlns:a16="http://schemas.microsoft.com/office/drawing/2014/main" val="470483204"/>
                    </a:ext>
                  </a:extLst>
                </a:gridCol>
              </a:tblGrid>
              <a:tr h="3201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Scenario ID</a:t>
                      </a:r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M</a:t>
                      </a:r>
                      <a:r>
                        <a:rPr lang="en-IN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aterial Type</a:t>
                      </a:r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u="none" strike="noStrike">
                          <a:solidFill>
                            <a:srgbClr val="000000"/>
                          </a:solidFill>
                          <a:effectLst/>
                        </a:rPr>
                        <a:t>Scenario Description</a:t>
                      </a:r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07916987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M2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PIP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PIPE EXTENSION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78207521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M3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PIP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PIPE FIELD MAINTENANC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119846532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M4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NLAG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NLAG EXTENSION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82624186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M5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NLAG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NLAG FIELD MAINTENANC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19001493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M6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UNBW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UNBW EXTENSION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92097705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M7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UNBW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UNBW FIELD MAINTENANC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1143963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MY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ZPRM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ZPRM EXTENSION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25569778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MZ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ZPRM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ZPRM FIELD MAINTENANC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29589946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N0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VERP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VERP POMT 8 PACK MATERIAL PROCURED EXTERNALLY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795292893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N1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VERP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VERP FIELD MAINTANANCE - MD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83648331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N2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VERP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VERP FIELD MAINTANANCE - FINANC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514596411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N3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VERP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VERP FIELD MAINTANANCE - SUPPLY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585226812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OC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 POMT3 SEMI FINISHED PRODUC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79299192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OD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 POMT4 SUB RECIPE PHANTOM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54735850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O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 POMT5 RAW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00913704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OF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 POMT7 NAKE PHANTOM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65156784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OG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 FIELD MIANTENANCE - MD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81564248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OH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 FIELD MIANTENANCE - FINANC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597130566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OI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ROH FIELD MIANTENANCE - SUPPLY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24370786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ON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FER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FERT TDU &amp; TDU/RSU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51062811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0PR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RT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RT TDU &amp; TDU/RSU ISC SALES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39252618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0PS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RT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RT TDU &amp; TDU/RSU BANGLADESH SALES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54737077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OO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FER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FERT RSU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60596125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OP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FER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FERT FIELD MAINTENANCE -  MD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133861420"/>
                  </a:ext>
                </a:extLst>
              </a:tr>
              <a:tr h="21559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A0OQ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FERT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u="none" strike="noStrike">
                          <a:solidFill>
                            <a:srgbClr val="000000"/>
                          </a:solidFill>
                          <a:effectLst/>
                        </a:rPr>
                        <a:t>FERT FIELD MAINTENANCE - FINANCE</a:t>
                      </a:r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258036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86754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1ACA2EA0-FFD3-42EC-9406-B595015ED9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D5288BCE-665C-472A-8C43-664BCFA31E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8762" y="1247775"/>
            <a:ext cx="9144000" cy="3007447"/>
          </a:xfrm>
          <a:prstGeom prst="rect">
            <a:avLst/>
          </a:prstGeom>
          <a:solidFill>
            <a:schemeClr val="bg1"/>
          </a:solidFill>
          <a:ln w="12700">
            <a:solidFill>
              <a:srgbClr val="E1E1E1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42CED9F-B280-45BB-84D4-40B886EAF807}"/>
              </a:ext>
            </a:extLst>
          </p:cNvPr>
          <p:cNvSpPr txBox="1"/>
          <p:nvPr/>
        </p:nvSpPr>
        <p:spPr>
          <a:xfrm>
            <a:off x="1804988" y="1442172"/>
            <a:ext cx="8582025" cy="21773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indent="119063" algn="ctr" font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b="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Overview of System Landscap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6C57131-53A7-4C1A-BEA8-25F06A06AD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487872" y="3912322"/>
            <a:ext cx="7225780" cy="6858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3129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2D4F2A1-7AA7-4FDF-BC00-FDA84255D5D6}"/>
              </a:ext>
            </a:extLst>
          </p:cNvPr>
          <p:cNvSpPr txBox="1"/>
          <p:nvPr/>
        </p:nvSpPr>
        <p:spPr>
          <a:xfrm>
            <a:off x="9154368" y="885596"/>
            <a:ext cx="221672" cy="329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GB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A6C7ADC-631B-4D0C-B660-3E8F56D15C01}"/>
              </a:ext>
            </a:extLst>
          </p:cNvPr>
          <p:cNvSpPr txBox="1"/>
          <p:nvPr/>
        </p:nvSpPr>
        <p:spPr>
          <a:xfrm>
            <a:off x="9392228" y="1556461"/>
            <a:ext cx="221672" cy="770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endParaRPr lang="en-GB">
              <a:solidFill>
                <a:schemeClr val="bg1"/>
              </a:solidFill>
            </a:endParaRPr>
          </a:p>
          <a:p>
            <a:pPr>
              <a:lnSpc>
                <a:spcPct val="85000"/>
              </a:lnSpc>
              <a:spcBef>
                <a:spcPts val="1600"/>
              </a:spcBef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953B284-3552-4CCA-88C6-6612225ACC84}"/>
              </a:ext>
            </a:extLst>
          </p:cNvPr>
          <p:cNvSpPr txBox="1"/>
          <p:nvPr/>
        </p:nvSpPr>
        <p:spPr>
          <a:xfrm>
            <a:off x="9527721" y="2206190"/>
            <a:ext cx="291925" cy="329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GB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7B6CBEAF-623C-406C-9A9C-5F29D5BC3EC7}"/>
              </a:ext>
            </a:extLst>
          </p:cNvPr>
          <p:cNvSpPr txBox="1"/>
          <p:nvPr/>
        </p:nvSpPr>
        <p:spPr>
          <a:xfrm>
            <a:off x="9512831" y="3152169"/>
            <a:ext cx="221672" cy="329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GB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30BEA566-6BAA-4112-9242-AA8C9DAF4637}"/>
              </a:ext>
            </a:extLst>
          </p:cNvPr>
          <p:cNvSpPr txBox="1"/>
          <p:nvPr/>
        </p:nvSpPr>
        <p:spPr>
          <a:xfrm>
            <a:off x="9132896" y="3822118"/>
            <a:ext cx="198915" cy="329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GB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0" name="Title 2">
            <a:extLst>
              <a:ext uri="{FF2B5EF4-FFF2-40B4-BE49-F238E27FC236}">
                <a16:creationId xmlns:a16="http://schemas.microsoft.com/office/drawing/2014/main" id="{D3F4A42D-73C5-45F9-8F28-AE336503E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190" y="-1328009"/>
            <a:ext cx="11582400" cy="680208"/>
          </a:xfrm>
        </p:spPr>
        <p:txBody>
          <a:bodyPr>
            <a:noAutofit/>
          </a:bodyPr>
          <a:lstStyle/>
          <a:p>
            <a:r>
              <a:rPr lang="en-GB" sz="2800">
                <a:solidFill>
                  <a:schemeClr val="bg1"/>
                </a:solidFill>
                <a:cs typeface="Calibri" panose="020F0502020204030204" pitchFamily="34" charset="0"/>
              </a:rPr>
              <a:t>Landscape and interfaces 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9B35495-C8E0-4286-89AE-4F061E127303}"/>
              </a:ext>
            </a:extLst>
          </p:cNvPr>
          <p:cNvGrpSpPr/>
          <p:nvPr/>
        </p:nvGrpSpPr>
        <p:grpSpPr>
          <a:xfrm>
            <a:off x="229704" y="733577"/>
            <a:ext cx="1371600" cy="1634073"/>
            <a:chOff x="989022" y="1657701"/>
            <a:chExt cx="1371600" cy="1634073"/>
          </a:xfrm>
        </p:grpSpPr>
        <p:sp>
          <p:nvSpPr>
            <p:cNvPr id="84" name="Rounded Rectangle 44">
              <a:extLst>
                <a:ext uri="{FF2B5EF4-FFF2-40B4-BE49-F238E27FC236}">
                  <a16:creationId xmlns:a16="http://schemas.microsoft.com/office/drawing/2014/main" id="{08CDB094-E4ED-4E22-8D57-3475F0BC5367}"/>
                </a:ext>
              </a:extLst>
            </p:cNvPr>
            <p:cNvSpPr/>
            <p:nvPr/>
          </p:nvSpPr>
          <p:spPr>
            <a:xfrm>
              <a:off x="989022" y="1917743"/>
              <a:ext cx="1371600" cy="1251217"/>
            </a:xfrm>
            <a:prstGeom prst="roundRect">
              <a:avLst/>
            </a:prstGeom>
            <a:solidFill>
              <a:srgbClr val="AADD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6069B09A-E3A5-40BA-BE8D-CEF1689C8FC5}"/>
                </a:ext>
              </a:extLst>
            </p:cNvPr>
            <p:cNvSpPr txBox="1"/>
            <p:nvPr/>
          </p:nvSpPr>
          <p:spPr>
            <a:xfrm>
              <a:off x="1212715" y="1657701"/>
              <a:ext cx="698781" cy="292388"/>
            </a:xfrm>
            <a:prstGeom prst="rect">
              <a:avLst/>
            </a:prstGeom>
            <a:noFill/>
          </p:spPr>
          <p:txBody>
            <a:bodyPr wrap="none" lIns="0" tIns="0" rIns="0" bIns="45720" rtlCol="0">
              <a:spAutoFit/>
            </a:bodyPr>
            <a:lstStyle/>
            <a:p>
              <a:r>
                <a:rPr lang="en-GB" sz="1600" b="1"/>
                <a:t>VERITAS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9FA63DC2-7223-4FEE-83DF-5254D5DA76AE}"/>
                </a:ext>
              </a:extLst>
            </p:cNvPr>
            <p:cNvSpPr/>
            <p:nvPr/>
          </p:nvSpPr>
          <p:spPr>
            <a:xfrm>
              <a:off x="1023810" y="2204234"/>
              <a:ext cx="129152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200"/>
                <a:t>Product</a:t>
              </a:r>
            </a:p>
            <a:p>
              <a:pPr algn="ctr"/>
              <a:r>
                <a:rPr lang="en-GB" sz="1200"/>
                <a:t>Specification</a:t>
              </a:r>
            </a:p>
          </p:txBody>
        </p:sp>
        <p:pic>
          <p:nvPicPr>
            <p:cNvPr id="88" name="Picture 2" descr="Related image">
              <a:extLst>
                <a:ext uri="{FF2B5EF4-FFF2-40B4-BE49-F238E27FC236}">
                  <a16:creationId xmlns:a16="http://schemas.microsoft.com/office/drawing/2014/main" id="{14A54BC6-658A-45F1-A104-AE2C3AADDB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4661" y="2714133"/>
              <a:ext cx="869820" cy="5776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5FD1E3A-11C6-4B35-AD32-F8BEEF9DF481}"/>
              </a:ext>
            </a:extLst>
          </p:cNvPr>
          <p:cNvGrpSpPr/>
          <p:nvPr/>
        </p:nvGrpSpPr>
        <p:grpSpPr>
          <a:xfrm>
            <a:off x="5361795" y="981116"/>
            <a:ext cx="358832" cy="1646722"/>
            <a:chOff x="6498370" y="969569"/>
            <a:chExt cx="358832" cy="3285108"/>
          </a:xfrm>
        </p:grpSpPr>
        <p:sp>
          <p:nvSpPr>
            <p:cNvPr id="90" name="Rounded Rectangle 46">
              <a:extLst>
                <a:ext uri="{FF2B5EF4-FFF2-40B4-BE49-F238E27FC236}">
                  <a16:creationId xmlns:a16="http://schemas.microsoft.com/office/drawing/2014/main" id="{C3E786E6-B064-4AC6-A1A0-ED463D195DEE}"/>
                </a:ext>
              </a:extLst>
            </p:cNvPr>
            <p:cNvSpPr/>
            <p:nvPr/>
          </p:nvSpPr>
          <p:spPr>
            <a:xfrm>
              <a:off x="6498370" y="969569"/>
              <a:ext cx="358832" cy="1361882"/>
            </a:xfrm>
            <a:prstGeom prst="roundRect">
              <a:avLst/>
            </a:prstGeom>
            <a:solidFill>
              <a:srgbClr val="E0E0E0"/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900">
                  <a:solidFill>
                    <a:srgbClr val="000000"/>
                  </a:solidFill>
                </a:rPr>
                <a:t>DATA </a:t>
              </a:r>
            </a:p>
            <a:p>
              <a:pPr algn="ctr"/>
              <a:r>
                <a:rPr lang="en-US" sz="900">
                  <a:solidFill>
                    <a:srgbClr val="000000"/>
                  </a:solidFill>
                </a:rPr>
                <a:t>SERVICES</a:t>
              </a:r>
            </a:p>
          </p:txBody>
        </p:sp>
        <p:sp>
          <p:nvSpPr>
            <p:cNvPr id="91" name="Rounded Rectangle 46">
              <a:extLst>
                <a:ext uri="{FF2B5EF4-FFF2-40B4-BE49-F238E27FC236}">
                  <a16:creationId xmlns:a16="http://schemas.microsoft.com/office/drawing/2014/main" id="{2BEED92B-94EB-4FB7-A21D-8C41824BDF22}"/>
                </a:ext>
              </a:extLst>
            </p:cNvPr>
            <p:cNvSpPr/>
            <p:nvPr/>
          </p:nvSpPr>
          <p:spPr>
            <a:xfrm>
              <a:off x="6498370" y="2398060"/>
              <a:ext cx="358832" cy="1856617"/>
            </a:xfrm>
            <a:prstGeom prst="roundRect">
              <a:avLst/>
            </a:prstGeom>
            <a:solidFill>
              <a:srgbClr val="E0E0E0"/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US" sz="1400" b="1">
                <a:solidFill>
                  <a:srgbClr val="000000"/>
                </a:solidFill>
              </a:endParaRPr>
            </a:p>
          </p:txBody>
        </p:sp>
      </p:grpSp>
      <p:pic>
        <p:nvPicPr>
          <p:cNvPr id="92" name="Picture 2" descr="Image result for mulesoft logo">
            <a:extLst>
              <a:ext uri="{FF2B5EF4-FFF2-40B4-BE49-F238E27FC236}">
                <a16:creationId xmlns:a16="http://schemas.microsoft.com/office/drawing/2014/main" id="{A85B9462-D5AC-48BC-8EBD-AA74E680BF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5317" y="1926887"/>
            <a:ext cx="799687" cy="417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71AEF3AF-7531-422A-B0E7-1CC0A220B853}"/>
              </a:ext>
            </a:extLst>
          </p:cNvPr>
          <p:cNvSpPr txBox="1"/>
          <p:nvPr/>
        </p:nvSpPr>
        <p:spPr>
          <a:xfrm>
            <a:off x="7677633" y="814156"/>
            <a:ext cx="816634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GB" sz="1600" b="1"/>
              <a:t>SAP MDG</a:t>
            </a:r>
          </a:p>
        </p:txBody>
      </p:sp>
      <p:sp>
        <p:nvSpPr>
          <p:cNvPr id="94" name="Rounded Rectangle 44">
            <a:extLst>
              <a:ext uri="{FF2B5EF4-FFF2-40B4-BE49-F238E27FC236}">
                <a16:creationId xmlns:a16="http://schemas.microsoft.com/office/drawing/2014/main" id="{AE0F56DD-C5AE-4AF3-BDEE-0579E5497710}"/>
              </a:ext>
            </a:extLst>
          </p:cNvPr>
          <p:cNvSpPr/>
          <p:nvPr/>
        </p:nvSpPr>
        <p:spPr>
          <a:xfrm>
            <a:off x="7464095" y="1040274"/>
            <a:ext cx="1371600" cy="2016075"/>
          </a:xfrm>
          <a:prstGeom prst="roundRect">
            <a:avLst/>
          </a:prstGeom>
          <a:solidFill>
            <a:srgbClr val="0088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rgbClr val="EEAA00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3C25666-9E96-493B-B44D-B15BDE7CE436}"/>
              </a:ext>
            </a:extLst>
          </p:cNvPr>
          <p:cNvSpPr/>
          <p:nvPr/>
        </p:nvSpPr>
        <p:spPr>
          <a:xfrm>
            <a:off x="7461349" y="1215430"/>
            <a:ext cx="129152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/>
              <a:t>1.Local classification update</a:t>
            </a:r>
          </a:p>
          <a:p>
            <a:pPr algn="ctr"/>
            <a:r>
              <a:rPr lang="en-GB" sz="1200"/>
              <a:t>2.Extension/Field </a:t>
            </a:r>
            <a:r>
              <a:rPr lang="en-GB" sz="1200" err="1"/>
              <a:t>maint</a:t>
            </a:r>
            <a:r>
              <a:rPr lang="en-GB" sz="1200"/>
              <a:t>. / Status Update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237C094-DBD7-42AD-A644-4A4928C0C107}"/>
              </a:ext>
            </a:extLst>
          </p:cNvPr>
          <p:cNvSpPr txBox="1"/>
          <p:nvPr/>
        </p:nvSpPr>
        <p:spPr>
          <a:xfrm>
            <a:off x="2705837" y="771791"/>
            <a:ext cx="376706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GB" sz="1600" b="1"/>
              <a:t>GRD</a:t>
            </a:r>
          </a:p>
        </p:txBody>
      </p:sp>
      <p:sp>
        <p:nvSpPr>
          <p:cNvPr id="100" name="Rounded Rectangle 44">
            <a:extLst>
              <a:ext uri="{FF2B5EF4-FFF2-40B4-BE49-F238E27FC236}">
                <a16:creationId xmlns:a16="http://schemas.microsoft.com/office/drawing/2014/main" id="{E98A5CB4-8F60-4963-A38C-6D4A1B1ADD68}"/>
              </a:ext>
            </a:extLst>
          </p:cNvPr>
          <p:cNvSpPr/>
          <p:nvPr/>
        </p:nvSpPr>
        <p:spPr>
          <a:xfrm>
            <a:off x="2206371" y="973343"/>
            <a:ext cx="1371600" cy="1251217"/>
          </a:xfrm>
          <a:prstGeom prst="roundRect">
            <a:avLst/>
          </a:prstGeom>
          <a:solidFill>
            <a:srgbClr val="EE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rgbClr val="EEAA00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2192DB63-D08C-46D6-873A-85CEAB9B60F2}"/>
              </a:ext>
            </a:extLst>
          </p:cNvPr>
          <p:cNvSpPr/>
          <p:nvPr/>
        </p:nvSpPr>
        <p:spPr>
          <a:xfrm>
            <a:off x="2241687" y="1076570"/>
            <a:ext cx="12915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/>
              <a:t>Creation/General Data enrichment</a:t>
            </a:r>
          </a:p>
        </p:txBody>
      </p:sp>
      <p:pic>
        <p:nvPicPr>
          <p:cNvPr id="102" name="Picture 8" descr="Related image">
            <a:extLst>
              <a:ext uri="{FF2B5EF4-FFF2-40B4-BE49-F238E27FC236}">
                <a16:creationId xmlns:a16="http://schemas.microsoft.com/office/drawing/2014/main" id="{00A6A287-097E-441E-AFD6-54016273E5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2708" y="1930059"/>
            <a:ext cx="372789" cy="372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Rounded Rectangle 44">
            <a:extLst>
              <a:ext uri="{FF2B5EF4-FFF2-40B4-BE49-F238E27FC236}">
                <a16:creationId xmlns:a16="http://schemas.microsoft.com/office/drawing/2014/main" id="{F424DCA7-089F-47DF-9031-E05966179B4B}"/>
              </a:ext>
            </a:extLst>
          </p:cNvPr>
          <p:cNvSpPr/>
          <p:nvPr/>
        </p:nvSpPr>
        <p:spPr>
          <a:xfrm>
            <a:off x="2316545" y="2636810"/>
            <a:ext cx="1371600" cy="946777"/>
          </a:xfrm>
          <a:prstGeom prst="roundRect">
            <a:avLst/>
          </a:prstGeom>
          <a:solidFill>
            <a:srgbClr val="EE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rgbClr val="EEAA00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6E8D2C8-BC10-4189-810E-B572121F1D46}"/>
              </a:ext>
            </a:extLst>
          </p:cNvPr>
          <p:cNvSpPr txBox="1"/>
          <p:nvPr/>
        </p:nvSpPr>
        <p:spPr>
          <a:xfrm>
            <a:off x="2479870" y="3648352"/>
            <a:ext cx="971420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GB" sz="1600" b="1"/>
              <a:t>ATLAS- APP</a:t>
            </a:r>
          </a:p>
        </p:txBody>
      </p:sp>
      <p:pic>
        <p:nvPicPr>
          <p:cNvPr id="106" name="Picture 8" descr="Related image">
            <a:extLst>
              <a:ext uri="{FF2B5EF4-FFF2-40B4-BE49-F238E27FC236}">
                <a16:creationId xmlns:a16="http://schemas.microsoft.com/office/drawing/2014/main" id="{BC4D5C89-875C-4E32-A003-A8C39B6BDE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7146" y="3251786"/>
            <a:ext cx="372789" cy="372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Rectangle 110">
            <a:extLst>
              <a:ext uri="{FF2B5EF4-FFF2-40B4-BE49-F238E27FC236}">
                <a16:creationId xmlns:a16="http://schemas.microsoft.com/office/drawing/2014/main" id="{4184CDB5-D132-4601-AF4B-CAD28946D6EB}"/>
              </a:ext>
            </a:extLst>
          </p:cNvPr>
          <p:cNvSpPr/>
          <p:nvPr/>
        </p:nvSpPr>
        <p:spPr>
          <a:xfrm>
            <a:off x="2306362" y="2633329"/>
            <a:ext cx="12915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/>
              <a:t>Plant &amp; Sales Data</a:t>
            </a: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DD4808E0-CFAD-403F-95FB-9246FB285D36}"/>
              </a:ext>
            </a:extLst>
          </p:cNvPr>
          <p:cNvCxnSpPr>
            <a:cxnSpLocks/>
          </p:cNvCxnSpPr>
          <p:nvPr/>
        </p:nvCxnSpPr>
        <p:spPr>
          <a:xfrm flipV="1">
            <a:off x="5733079" y="1448440"/>
            <a:ext cx="1728270" cy="16493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7B623ECA-5D50-4A79-B3DA-520E0698D973}"/>
              </a:ext>
            </a:extLst>
          </p:cNvPr>
          <p:cNvCxnSpPr>
            <a:cxnSpLocks/>
          </p:cNvCxnSpPr>
          <p:nvPr/>
        </p:nvCxnSpPr>
        <p:spPr>
          <a:xfrm>
            <a:off x="3688145" y="2823171"/>
            <a:ext cx="3773204" cy="1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25" name="Oval 124">
            <a:extLst>
              <a:ext uri="{FF2B5EF4-FFF2-40B4-BE49-F238E27FC236}">
                <a16:creationId xmlns:a16="http://schemas.microsoft.com/office/drawing/2014/main" id="{04DA64AB-D334-428C-A54D-076E714AE8FF}"/>
              </a:ext>
            </a:extLst>
          </p:cNvPr>
          <p:cNvSpPr/>
          <p:nvPr/>
        </p:nvSpPr>
        <p:spPr>
          <a:xfrm>
            <a:off x="5504178" y="2721489"/>
            <a:ext cx="161963" cy="1619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/>
              <a:t>5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0427D86A-94A7-4551-9E1E-EE05222C3A65}"/>
              </a:ext>
            </a:extLst>
          </p:cNvPr>
          <p:cNvSpPr/>
          <p:nvPr/>
        </p:nvSpPr>
        <p:spPr>
          <a:xfrm>
            <a:off x="174054" y="567356"/>
            <a:ext cx="8755467" cy="405684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44" name="Straight Arrow Connector 143">
            <a:extLst>
              <a:ext uri="{FF2B5EF4-FFF2-40B4-BE49-F238E27FC236}">
                <a16:creationId xmlns:a16="http://schemas.microsoft.com/office/drawing/2014/main" id="{84C39F3F-6A98-4B6D-B2EE-9CBE5733F45B}"/>
              </a:ext>
            </a:extLst>
          </p:cNvPr>
          <p:cNvCxnSpPr>
            <a:cxnSpLocks/>
          </p:cNvCxnSpPr>
          <p:nvPr/>
        </p:nvCxnSpPr>
        <p:spPr>
          <a:xfrm>
            <a:off x="2926573" y="2206034"/>
            <a:ext cx="0" cy="4029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CDF8839E-C8F1-48B4-B339-3D06E36F8882}"/>
              </a:ext>
            </a:extLst>
          </p:cNvPr>
          <p:cNvCxnSpPr>
            <a:cxnSpLocks/>
          </p:cNvCxnSpPr>
          <p:nvPr/>
        </p:nvCxnSpPr>
        <p:spPr>
          <a:xfrm>
            <a:off x="3533211" y="1448440"/>
            <a:ext cx="1824692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Oval 149">
            <a:extLst>
              <a:ext uri="{FF2B5EF4-FFF2-40B4-BE49-F238E27FC236}">
                <a16:creationId xmlns:a16="http://schemas.microsoft.com/office/drawing/2014/main" id="{F50E806E-7BE0-43E6-BAF4-B46F24B880A1}"/>
              </a:ext>
            </a:extLst>
          </p:cNvPr>
          <p:cNvSpPr/>
          <p:nvPr/>
        </p:nvSpPr>
        <p:spPr>
          <a:xfrm>
            <a:off x="4583801" y="1352693"/>
            <a:ext cx="161963" cy="1619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/>
              <a:t>2</a:t>
            </a:r>
          </a:p>
        </p:txBody>
      </p: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B40ED03A-61CB-4474-9DEE-9A4BA2B77975}"/>
              </a:ext>
            </a:extLst>
          </p:cNvPr>
          <p:cNvCxnSpPr/>
          <p:nvPr/>
        </p:nvCxnSpPr>
        <p:spPr>
          <a:xfrm>
            <a:off x="5357903" y="4243160"/>
            <a:ext cx="752548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Oval 163">
            <a:extLst>
              <a:ext uri="{FF2B5EF4-FFF2-40B4-BE49-F238E27FC236}">
                <a16:creationId xmlns:a16="http://schemas.microsoft.com/office/drawing/2014/main" id="{BE984EFB-0D40-4643-BE39-E268DA6C2AD4}"/>
              </a:ext>
            </a:extLst>
          </p:cNvPr>
          <p:cNvSpPr/>
          <p:nvPr/>
        </p:nvSpPr>
        <p:spPr>
          <a:xfrm>
            <a:off x="5630010" y="4166639"/>
            <a:ext cx="161963" cy="1619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/>
              <a:t>4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131028C9-46C8-4070-A1B7-F16220B6BD5A}"/>
              </a:ext>
            </a:extLst>
          </p:cNvPr>
          <p:cNvSpPr txBox="1"/>
          <p:nvPr/>
        </p:nvSpPr>
        <p:spPr>
          <a:xfrm>
            <a:off x="6288047" y="4116598"/>
            <a:ext cx="1677131" cy="237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GB" sz="1100"/>
              <a:t>General Data</a:t>
            </a:r>
          </a:p>
        </p:txBody>
      </p: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E46A47CA-5482-404D-B25C-41ED8FCE6A57}"/>
              </a:ext>
            </a:extLst>
          </p:cNvPr>
          <p:cNvCxnSpPr>
            <a:cxnSpLocks/>
          </p:cNvCxnSpPr>
          <p:nvPr/>
        </p:nvCxnSpPr>
        <p:spPr>
          <a:xfrm>
            <a:off x="5357903" y="4417573"/>
            <a:ext cx="7695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TextBox 169">
            <a:extLst>
              <a:ext uri="{FF2B5EF4-FFF2-40B4-BE49-F238E27FC236}">
                <a16:creationId xmlns:a16="http://schemas.microsoft.com/office/drawing/2014/main" id="{62D0DF0A-DCEC-4AAD-A215-CA970FC33147}"/>
              </a:ext>
            </a:extLst>
          </p:cNvPr>
          <p:cNvSpPr txBox="1"/>
          <p:nvPr/>
        </p:nvSpPr>
        <p:spPr>
          <a:xfrm>
            <a:off x="6160220" y="4337873"/>
            <a:ext cx="2964948" cy="237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GB" sz="1100"/>
              <a:t>Existing SAP to SAP connection GRD to ATLAS</a:t>
            </a:r>
          </a:p>
        </p:txBody>
      </p:sp>
      <p:cxnSp>
        <p:nvCxnSpPr>
          <p:cNvPr id="171" name="Straight Arrow Connector 170">
            <a:extLst>
              <a:ext uri="{FF2B5EF4-FFF2-40B4-BE49-F238E27FC236}">
                <a16:creationId xmlns:a16="http://schemas.microsoft.com/office/drawing/2014/main" id="{48D0F139-8A26-43A1-85F9-7EFFCF9FF204}"/>
              </a:ext>
            </a:extLst>
          </p:cNvPr>
          <p:cNvCxnSpPr/>
          <p:nvPr/>
        </p:nvCxnSpPr>
        <p:spPr>
          <a:xfrm>
            <a:off x="5357903" y="3812855"/>
            <a:ext cx="752548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Oval 171">
            <a:extLst>
              <a:ext uri="{FF2B5EF4-FFF2-40B4-BE49-F238E27FC236}">
                <a16:creationId xmlns:a16="http://schemas.microsoft.com/office/drawing/2014/main" id="{95630272-91A1-4975-B2AF-01747DA4D863}"/>
              </a:ext>
            </a:extLst>
          </p:cNvPr>
          <p:cNvSpPr/>
          <p:nvPr/>
        </p:nvSpPr>
        <p:spPr>
          <a:xfrm>
            <a:off x="5630010" y="3748863"/>
            <a:ext cx="161963" cy="1619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/>
              <a:t>2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30CEC04A-9BDE-4FAA-8E30-7132D78AFB33}"/>
              </a:ext>
            </a:extLst>
          </p:cNvPr>
          <p:cNvSpPr txBox="1"/>
          <p:nvPr/>
        </p:nvSpPr>
        <p:spPr>
          <a:xfrm>
            <a:off x="6288047" y="3701374"/>
            <a:ext cx="1677131" cy="237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GB" sz="1100"/>
              <a:t>General Data</a:t>
            </a:r>
          </a:p>
        </p:txBody>
      </p: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1211B637-4FB7-4A04-92EF-8E014C76C187}"/>
              </a:ext>
            </a:extLst>
          </p:cNvPr>
          <p:cNvCxnSpPr/>
          <p:nvPr/>
        </p:nvCxnSpPr>
        <p:spPr>
          <a:xfrm>
            <a:off x="5357903" y="3609654"/>
            <a:ext cx="752548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Oval 174">
            <a:extLst>
              <a:ext uri="{FF2B5EF4-FFF2-40B4-BE49-F238E27FC236}">
                <a16:creationId xmlns:a16="http://schemas.microsoft.com/office/drawing/2014/main" id="{22C84AFF-820F-4EB1-AF9A-09ED7DE3F249}"/>
              </a:ext>
            </a:extLst>
          </p:cNvPr>
          <p:cNvSpPr/>
          <p:nvPr/>
        </p:nvSpPr>
        <p:spPr>
          <a:xfrm>
            <a:off x="5630010" y="3533708"/>
            <a:ext cx="161963" cy="1619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/>
              <a:t>1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D4269665-EBF1-4D85-9FA0-D5325AA2A3B5}"/>
              </a:ext>
            </a:extLst>
          </p:cNvPr>
          <p:cNvSpPr txBox="1"/>
          <p:nvPr/>
        </p:nvSpPr>
        <p:spPr>
          <a:xfrm>
            <a:off x="6288047" y="3486220"/>
            <a:ext cx="1677131" cy="237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GB" sz="1100"/>
              <a:t>General Data</a:t>
            </a:r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0FE344DF-EB21-4FA6-BBA5-EC258E22545A}"/>
              </a:ext>
            </a:extLst>
          </p:cNvPr>
          <p:cNvCxnSpPr/>
          <p:nvPr/>
        </p:nvCxnSpPr>
        <p:spPr>
          <a:xfrm>
            <a:off x="5357903" y="4028340"/>
            <a:ext cx="752548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Oval 177">
            <a:extLst>
              <a:ext uri="{FF2B5EF4-FFF2-40B4-BE49-F238E27FC236}">
                <a16:creationId xmlns:a16="http://schemas.microsoft.com/office/drawing/2014/main" id="{52FEBC07-917D-4931-99BC-5271FE2D713C}"/>
              </a:ext>
            </a:extLst>
          </p:cNvPr>
          <p:cNvSpPr/>
          <p:nvPr/>
        </p:nvSpPr>
        <p:spPr>
          <a:xfrm>
            <a:off x="5630010" y="3952395"/>
            <a:ext cx="161963" cy="1619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/>
              <a:t>3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F25B3CCA-8D5B-4936-AD9D-E51F37E52E09}"/>
              </a:ext>
            </a:extLst>
          </p:cNvPr>
          <p:cNvSpPr txBox="1"/>
          <p:nvPr/>
        </p:nvSpPr>
        <p:spPr>
          <a:xfrm>
            <a:off x="6288047" y="3904906"/>
            <a:ext cx="1677131" cy="237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GB" sz="1100"/>
              <a:t>General Data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D27E2017-4D52-4237-A011-0906C402B8EE}"/>
              </a:ext>
            </a:extLst>
          </p:cNvPr>
          <p:cNvSpPr/>
          <p:nvPr/>
        </p:nvSpPr>
        <p:spPr>
          <a:xfrm>
            <a:off x="4393616" y="1097194"/>
            <a:ext cx="511665" cy="195539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667">
                <a:solidFill>
                  <a:schemeClr val="bg1"/>
                </a:solidFill>
              </a:rPr>
              <a:t>IDOC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E1E1C761-9D14-4072-A15D-A7903A494A26}"/>
              </a:ext>
            </a:extLst>
          </p:cNvPr>
          <p:cNvSpPr/>
          <p:nvPr/>
        </p:nvSpPr>
        <p:spPr>
          <a:xfrm>
            <a:off x="6464638" y="1932595"/>
            <a:ext cx="414641" cy="179323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667" b="1">
                <a:solidFill>
                  <a:schemeClr val="bg1"/>
                </a:solidFill>
              </a:rPr>
              <a:t>Web Servic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50542EB0-F81B-4477-A14A-505428070D05}"/>
              </a:ext>
            </a:extLst>
          </p:cNvPr>
          <p:cNvSpPr/>
          <p:nvPr/>
        </p:nvSpPr>
        <p:spPr>
          <a:xfrm>
            <a:off x="4300294" y="1741980"/>
            <a:ext cx="619112" cy="176984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IDOC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6BF9D342-1A59-462A-A53E-9092CD66380C}"/>
              </a:ext>
            </a:extLst>
          </p:cNvPr>
          <p:cNvCxnSpPr>
            <a:cxnSpLocks/>
          </p:cNvCxnSpPr>
          <p:nvPr/>
        </p:nvCxnSpPr>
        <p:spPr>
          <a:xfrm flipH="1">
            <a:off x="5733079" y="2224560"/>
            <a:ext cx="1728270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3" name="Picture 6" descr="Related image">
            <a:extLst>
              <a:ext uri="{FF2B5EF4-FFF2-40B4-BE49-F238E27FC236}">
                <a16:creationId xmlns:a16="http://schemas.microsoft.com/office/drawing/2014/main" id="{33507EDD-28F2-40A7-A414-296EEAB6AF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3815" y="2704146"/>
            <a:ext cx="1092160" cy="274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Rectangle 129">
            <a:extLst>
              <a:ext uri="{FF2B5EF4-FFF2-40B4-BE49-F238E27FC236}">
                <a16:creationId xmlns:a16="http://schemas.microsoft.com/office/drawing/2014/main" id="{D22FF427-E06F-4BC1-AB73-D09FF6955070}"/>
              </a:ext>
            </a:extLst>
          </p:cNvPr>
          <p:cNvSpPr/>
          <p:nvPr/>
        </p:nvSpPr>
        <p:spPr>
          <a:xfrm>
            <a:off x="6449954" y="1164653"/>
            <a:ext cx="476575" cy="186396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667" b="1">
                <a:solidFill>
                  <a:schemeClr val="bg1"/>
                </a:solidFill>
              </a:rPr>
              <a:t>IDOC</a:t>
            </a:r>
          </a:p>
        </p:txBody>
      </p: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EC93227B-FE04-414C-B5F8-9BD6010220E8}"/>
              </a:ext>
            </a:extLst>
          </p:cNvPr>
          <p:cNvCxnSpPr>
            <a:cxnSpLocks/>
          </p:cNvCxnSpPr>
          <p:nvPr/>
        </p:nvCxnSpPr>
        <p:spPr>
          <a:xfrm flipV="1">
            <a:off x="3597886" y="2033836"/>
            <a:ext cx="1800387" cy="1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2" name="Oval 131">
            <a:extLst>
              <a:ext uri="{FF2B5EF4-FFF2-40B4-BE49-F238E27FC236}">
                <a16:creationId xmlns:a16="http://schemas.microsoft.com/office/drawing/2014/main" id="{A7C5D09E-6FAC-49FC-87BC-DA186E0B1629}"/>
              </a:ext>
            </a:extLst>
          </p:cNvPr>
          <p:cNvSpPr/>
          <p:nvPr/>
        </p:nvSpPr>
        <p:spPr>
          <a:xfrm>
            <a:off x="6564260" y="2146421"/>
            <a:ext cx="161963" cy="1619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/>
              <a:t>3</a:t>
            </a:r>
          </a:p>
        </p:txBody>
      </p:sp>
      <p:graphicFrame>
        <p:nvGraphicFramePr>
          <p:cNvPr id="152" name="Diagram 151">
            <a:extLst>
              <a:ext uri="{FF2B5EF4-FFF2-40B4-BE49-F238E27FC236}">
                <a16:creationId xmlns:a16="http://schemas.microsoft.com/office/drawing/2014/main" id="{C727DBC4-0D20-4F53-9F2C-10040C509E73}"/>
              </a:ext>
            </a:extLst>
          </p:cNvPr>
          <p:cNvGraphicFramePr/>
          <p:nvPr/>
        </p:nvGraphicFramePr>
        <p:xfrm>
          <a:off x="8898496" y="590264"/>
          <a:ext cx="3198381" cy="39851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CEF922A9-D0D1-489D-BE05-4519DBD4AA0E}"/>
              </a:ext>
            </a:extLst>
          </p:cNvPr>
          <p:cNvSpPr txBox="1"/>
          <p:nvPr/>
        </p:nvSpPr>
        <p:spPr>
          <a:xfrm>
            <a:off x="9125168" y="932277"/>
            <a:ext cx="303450" cy="329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US" sz="18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C1DBB693-A887-4372-BABD-96D3DCEB9BAF}"/>
              </a:ext>
            </a:extLst>
          </p:cNvPr>
          <p:cNvSpPr txBox="1"/>
          <p:nvPr/>
        </p:nvSpPr>
        <p:spPr>
          <a:xfrm>
            <a:off x="9496432" y="1645219"/>
            <a:ext cx="303450" cy="329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US">
                <a:solidFill>
                  <a:schemeClr val="bg1"/>
                </a:solidFill>
              </a:rPr>
              <a:t>2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F44F9921-762C-4EAD-B19A-8BEB8423BDE7}"/>
              </a:ext>
            </a:extLst>
          </p:cNvPr>
          <p:cNvSpPr txBox="1"/>
          <p:nvPr/>
        </p:nvSpPr>
        <p:spPr>
          <a:xfrm>
            <a:off x="9591700" y="2387673"/>
            <a:ext cx="303450" cy="329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US">
                <a:solidFill>
                  <a:schemeClr val="bg1"/>
                </a:solidFill>
              </a:rPr>
              <a:t>3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4DB55CAE-0B3C-4DDA-9968-E0B1E3B38EF2}"/>
              </a:ext>
            </a:extLst>
          </p:cNvPr>
          <p:cNvSpPr txBox="1"/>
          <p:nvPr/>
        </p:nvSpPr>
        <p:spPr>
          <a:xfrm>
            <a:off x="9464132" y="3203874"/>
            <a:ext cx="248937" cy="329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US">
                <a:solidFill>
                  <a:schemeClr val="bg1"/>
                </a:solidFill>
              </a:rPr>
              <a:t>4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9F22482F-6608-4B12-9D53-2B41C3CA1D4F}"/>
              </a:ext>
            </a:extLst>
          </p:cNvPr>
          <p:cNvSpPr txBox="1"/>
          <p:nvPr/>
        </p:nvSpPr>
        <p:spPr>
          <a:xfrm>
            <a:off x="9110143" y="3973457"/>
            <a:ext cx="303450" cy="329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ts val="1600"/>
              </a:spcBef>
            </a:pPr>
            <a:r>
              <a:rPr lang="en-US">
                <a:solidFill>
                  <a:schemeClr val="bg1"/>
                </a:solidFill>
              </a:rPr>
              <a:t>5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F5EA96A9-4BFB-418D-9AC7-8070A6E7662E}"/>
              </a:ext>
            </a:extLst>
          </p:cNvPr>
          <p:cNvSpPr txBox="1"/>
          <p:nvPr/>
        </p:nvSpPr>
        <p:spPr>
          <a:xfrm>
            <a:off x="110193" y="5004115"/>
            <a:ext cx="8384074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/>
              <a:t>Note: </a:t>
            </a:r>
          </a:p>
          <a:p>
            <a:pPr marL="342900" indent="-342900">
              <a:buFontTx/>
              <a:buAutoNum type="arabicPeriod"/>
            </a:pPr>
            <a:r>
              <a:rPr lang="en-US"/>
              <a:t>MDG-&gt;GRD replication for basic data is completed within real time.  </a:t>
            </a:r>
            <a:endParaRPr lang="en-US">
              <a:cs typeface="Calibri"/>
            </a:endParaRPr>
          </a:p>
          <a:p>
            <a:pPr marL="342900" indent="-342900">
              <a:buFontTx/>
              <a:buAutoNum type="arabicPeriod"/>
            </a:pPr>
            <a:r>
              <a:rPr lang="en-US">
                <a:cs typeface="Calibri"/>
              </a:rPr>
              <a:t>GRD-&gt;MDG replication </a:t>
            </a:r>
            <a:r>
              <a:rPr lang="en-US"/>
              <a:t>for basic data </a:t>
            </a:r>
            <a:r>
              <a:rPr lang="en-US">
                <a:cs typeface="Calibri"/>
              </a:rPr>
              <a:t>is completed in around 15 minutes.</a:t>
            </a:r>
          </a:p>
          <a:p>
            <a:pPr marL="342900" indent="-342900">
              <a:buFontTx/>
              <a:buAutoNum type="arabicPeriod"/>
            </a:pPr>
            <a:r>
              <a:rPr lang="en-US">
                <a:cs typeface="Calibri"/>
              </a:rPr>
              <a:t>MDG-&gt;ATLAS replication for plant/sales data is completed within real time.</a:t>
            </a:r>
          </a:p>
          <a:p>
            <a:pPr marL="342900" indent="-342900">
              <a:buFontTx/>
              <a:buAutoNum type="arabicPeriod"/>
            </a:pPr>
            <a:r>
              <a:rPr lang="en-US">
                <a:cs typeface="Calibri"/>
              </a:rPr>
              <a:t>GRD-&gt;ATLAS replication for basic data, is completed in 15 minutes.</a:t>
            </a:r>
          </a:p>
          <a:p>
            <a:pPr marL="342900" indent="-342900">
              <a:buFontTx/>
              <a:buAutoNum type="arabicPeriod"/>
            </a:pPr>
            <a:r>
              <a:rPr lang="en-US">
                <a:cs typeface="Calibri"/>
              </a:rPr>
              <a:t>ATLAS-&gt;MDG sends ALEAUD acknowledgement every 5 minutes.</a:t>
            </a:r>
            <a:endParaRPr lang="en-US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1DDCAAB9-4300-4336-BF78-F662EACCD4CB}"/>
              </a:ext>
            </a:extLst>
          </p:cNvPr>
          <p:cNvSpPr txBox="1"/>
          <p:nvPr/>
        </p:nvSpPr>
        <p:spPr>
          <a:xfrm>
            <a:off x="174054" y="81714"/>
            <a:ext cx="617696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u="sng">
                <a:solidFill>
                  <a:srgbClr val="0000A0"/>
                </a:solidFill>
                <a:latin typeface="Mars Centra Extrabold (Headings)"/>
              </a:rPr>
              <a:t>Introduction - </a:t>
            </a:r>
            <a:r>
              <a:rPr lang="en-GB" sz="2400" b="1" u="sng">
                <a:solidFill>
                  <a:srgbClr val="0000A0"/>
                </a:solidFill>
                <a:latin typeface="Mars Centra Extrabold (Headings)"/>
                <a:ea typeface="+mn-ea"/>
                <a:cs typeface="+mn-cs"/>
              </a:rPr>
              <a:t>Overview of System Landscape</a:t>
            </a:r>
            <a:endParaRPr lang="en-US" sz="240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2CDEB2C-08C3-4B03-86B6-6CBCBE1AF52D}"/>
              </a:ext>
            </a:extLst>
          </p:cNvPr>
          <p:cNvSpPr/>
          <p:nvPr/>
        </p:nvSpPr>
        <p:spPr>
          <a:xfrm>
            <a:off x="5398273" y="2961674"/>
            <a:ext cx="414641" cy="179323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667" b="1">
                <a:solidFill>
                  <a:schemeClr val="bg1"/>
                </a:solidFill>
              </a:rPr>
              <a:t>IDOC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0275E4C8-7E6F-4596-853E-1A9A04673541}"/>
              </a:ext>
            </a:extLst>
          </p:cNvPr>
          <p:cNvCxnSpPr>
            <a:cxnSpLocks/>
          </p:cNvCxnSpPr>
          <p:nvPr/>
        </p:nvCxnSpPr>
        <p:spPr>
          <a:xfrm>
            <a:off x="1614118" y="1717815"/>
            <a:ext cx="627036" cy="13494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Oval 85">
            <a:extLst>
              <a:ext uri="{FF2B5EF4-FFF2-40B4-BE49-F238E27FC236}">
                <a16:creationId xmlns:a16="http://schemas.microsoft.com/office/drawing/2014/main" id="{D51C14CA-219A-4D93-85E1-2375C3848680}"/>
              </a:ext>
            </a:extLst>
          </p:cNvPr>
          <p:cNvSpPr/>
          <p:nvPr/>
        </p:nvSpPr>
        <p:spPr>
          <a:xfrm>
            <a:off x="6612962" y="1376814"/>
            <a:ext cx="161963" cy="1619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/>
              <a:t>2</a:t>
            </a: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69FE238A-9B5F-4FAE-A07F-3FEAF82B067B}"/>
              </a:ext>
            </a:extLst>
          </p:cNvPr>
          <p:cNvSpPr/>
          <p:nvPr/>
        </p:nvSpPr>
        <p:spPr>
          <a:xfrm>
            <a:off x="4523626" y="1935964"/>
            <a:ext cx="161963" cy="1619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/>
              <a:t>4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0D82C409-A53F-4026-A077-792220DC5D15}"/>
              </a:ext>
            </a:extLst>
          </p:cNvPr>
          <p:cNvSpPr/>
          <p:nvPr/>
        </p:nvSpPr>
        <p:spPr>
          <a:xfrm>
            <a:off x="1763982" y="1702466"/>
            <a:ext cx="161963" cy="1619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/>
              <a:t>1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2A71752-67A0-40E6-D194-4CF50F7774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2990087"/>
              </p:ext>
            </p:extLst>
          </p:nvPr>
        </p:nvGraphicFramePr>
        <p:xfrm>
          <a:off x="7902045" y="5195478"/>
          <a:ext cx="4194832" cy="130340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07269">
                  <a:extLst>
                    <a:ext uri="{9D8B030D-6E8A-4147-A177-3AD203B41FA5}">
                      <a16:colId xmlns:a16="http://schemas.microsoft.com/office/drawing/2014/main" val="1487279865"/>
                    </a:ext>
                  </a:extLst>
                </a:gridCol>
                <a:gridCol w="923731">
                  <a:extLst>
                    <a:ext uri="{9D8B030D-6E8A-4147-A177-3AD203B41FA5}">
                      <a16:colId xmlns:a16="http://schemas.microsoft.com/office/drawing/2014/main" val="2635020239"/>
                    </a:ext>
                  </a:extLst>
                </a:gridCol>
                <a:gridCol w="998375">
                  <a:extLst>
                    <a:ext uri="{9D8B030D-6E8A-4147-A177-3AD203B41FA5}">
                      <a16:colId xmlns:a16="http://schemas.microsoft.com/office/drawing/2014/main" val="2984951392"/>
                    </a:ext>
                  </a:extLst>
                </a:gridCol>
                <a:gridCol w="965457">
                  <a:extLst>
                    <a:ext uri="{9D8B030D-6E8A-4147-A177-3AD203B41FA5}">
                      <a16:colId xmlns:a16="http://schemas.microsoft.com/office/drawing/2014/main" val="173024601"/>
                    </a:ext>
                  </a:extLst>
                </a:gridCol>
              </a:tblGrid>
              <a:tr h="434468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System</a:t>
                      </a:r>
                      <a:endParaRPr lang="en-IN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MDG</a:t>
                      </a:r>
                      <a:endParaRPr lang="en-IN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GRD</a:t>
                      </a:r>
                      <a:endParaRPr lang="en-IN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ATLAS</a:t>
                      </a:r>
                      <a:endParaRPr lang="en-IN" b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2830231"/>
                  </a:ext>
                </a:extLst>
              </a:tr>
              <a:tr h="434468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Quality</a:t>
                      </a:r>
                      <a:endParaRPr lang="en-IN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1Q</a:t>
                      </a:r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AMB</a:t>
                      </a:r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APB</a:t>
                      </a:r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1061567"/>
                  </a:ext>
                </a:extLst>
              </a:tr>
              <a:tr h="434468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Production</a:t>
                      </a:r>
                      <a:endParaRPr lang="en-IN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1P</a:t>
                      </a:r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APP</a:t>
                      </a:r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91126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0179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BAD76F3E-3A97-486B-B402-44400A8B9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1093788"/>
            <a:ext cx="10506455" cy="296720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000" b="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AP MDG Secur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91F6B52-91F4-4AEB-B6DB-29FEBCF28C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4331166"/>
            <a:ext cx="10506456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CD6F061-7C53-44F4-9794-953DB70A45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9346882" y="2348839"/>
            <a:ext cx="54864" cy="39467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6182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330024" y="202812"/>
            <a:ext cx="9866313" cy="4699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sng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uLnTx/>
              <a:uFillTx/>
              <a:latin typeface="Mars Centra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46146" y="683655"/>
            <a:ext cx="11049168" cy="591956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MDG security Roles have been created based on different Organization Elements authorizations like</a:t>
            </a:r>
          </a:p>
          <a:p>
            <a:pPr marL="800100" marR="0" lvl="1" indent="-28575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MMCLUSTER ID</a:t>
            </a:r>
          </a:p>
          <a:p>
            <a:pPr marL="800100" marR="0" lvl="1" indent="-28575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Company Code</a:t>
            </a:r>
          </a:p>
          <a:p>
            <a:pPr marL="800100" marR="0" lvl="1" indent="-28575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Sales Organization	</a:t>
            </a:r>
          </a:p>
          <a:p>
            <a:pPr marL="800100" marR="0" lvl="1" indent="-28575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Distribution Channel	</a:t>
            </a:r>
          </a:p>
          <a:p>
            <a:pPr marL="800100" marR="0" lvl="1" indent="-28575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Plant</a:t>
            </a:r>
          </a:p>
          <a:p>
            <a:pPr marL="800100" marR="0" lvl="1" indent="-28575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Warehouse Number</a:t>
            </a:r>
          </a:p>
          <a:p>
            <a:pPr marL="57150" marR="0" lvl="0" indent="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General authorization object</a:t>
            </a:r>
          </a:p>
          <a:p>
            <a:pPr marL="800100" marR="0" lvl="1" indent="-28575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Change Request Type</a:t>
            </a:r>
          </a:p>
          <a:p>
            <a:pPr marL="800100" marR="0" lvl="1" indent="-28575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Material Type</a:t>
            </a:r>
          </a:p>
          <a:p>
            <a:pPr marL="0" marR="0" lvl="1" indent="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Mandatory roles assigned to all users</a:t>
            </a:r>
          </a:p>
          <a:p>
            <a:pPr marL="914400" marR="0" lvl="3" indent="-28575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GM1:CMN-CM_GEN-USR-ACCESS </a:t>
            </a:r>
          </a:p>
          <a:p>
            <a:pPr marL="914400" marR="0" lvl="3" indent="-28575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(Body)"/>
                <a:ea typeface="Calibri" panose="020F0502020204030204" pitchFamily="34" charset="0"/>
                <a:cs typeface="Times New Roman" panose="02020603050405020304" pitchFamily="18" charset="0"/>
              </a:rPr>
              <a:t>ZM2:MMD-GD_DIS_GLB</a:t>
            </a:r>
          </a:p>
          <a:p>
            <a:pPr marL="914400" lvl="3" indent="-285750"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Mars Centra (Body)"/>
                <a:cs typeface="Times New Roman" panose="02020603050405020304" pitchFamily="18" charset="0"/>
              </a:rPr>
              <a:t>ZM2:MDM-MD_BOM-DIS_GLB</a:t>
            </a:r>
          </a:p>
          <a:p>
            <a:pPr marL="914400" lvl="3" indent="-285750"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600">
                <a:solidFill>
                  <a:srgbClr val="3C3C3C"/>
                </a:solidFill>
                <a:latin typeface="Mars Centra (Body)"/>
                <a:cs typeface="Times New Roman" panose="02020603050405020304" pitchFamily="18" charset="0"/>
              </a:rPr>
              <a:t>ZM2:MDM-MD_M-PI-MENU_GLB</a:t>
            </a:r>
          </a:p>
          <a:p>
            <a:pPr marL="0" lvl="1">
              <a:spcAft>
                <a:spcPts val="800"/>
              </a:spcAft>
              <a:defRPr/>
            </a:pPr>
            <a:r>
              <a:rPr lang="en-US" sz="1600" b="1">
                <a:solidFill>
                  <a:srgbClr val="3C3C3C"/>
                </a:solidFill>
                <a:latin typeface="Mars Centra (Body)"/>
                <a:cs typeface="Times New Roman" panose="02020603050405020304" pitchFamily="18" charset="0"/>
              </a:rPr>
              <a:t>Links for Authorization Role Matrix files of PNIN:</a:t>
            </a:r>
          </a:p>
          <a:p>
            <a:pPr marL="0" lvl="1">
              <a:spcAft>
                <a:spcPts val="800"/>
              </a:spcAft>
              <a:defRPr/>
            </a:pPr>
            <a:r>
              <a:rPr lang="en-US" sz="1600" b="1" i="1">
                <a:solidFill>
                  <a:srgbClr val="3C3C3C"/>
                </a:solidFill>
                <a:latin typeface="Mars Centra (Body)"/>
                <a:cs typeface="Times New Roman" panose="02020603050405020304" pitchFamily="18" charset="0"/>
                <a:hlinkClick r:id="rId3"/>
              </a:rPr>
              <a:t>Authorization Role Matrix</a:t>
            </a:r>
            <a:endParaRPr lang="en-US" sz="1600" b="1" i="1">
              <a:solidFill>
                <a:srgbClr val="3C3C3C"/>
              </a:solidFill>
              <a:latin typeface="Mars Centra (Body)"/>
              <a:cs typeface="Times New Roman" panose="02020603050405020304" pitchFamily="18" charset="0"/>
            </a:endParaRPr>
          </a:p>
        </p:txBody>
      </p:sp>
      <p:sp>
        <p:nvSpPr>
          <p:cNvPr id="26" name="Title 3"/>
          <p:cNvSpPr>
            <a:spLocks noGrp="1"/>
          </p:cNvSpPr>
          <p:nvPr>
            <p:ph type="title"/>
          </p:nvPr>
        </p:nvSpPr>
        <p:spPr>
          <a:xfrm>
            <a:off x="446146" y="191869"/>
            <a:ext cx="7328351" cy="480843"/>
          </a:xfrm>
        </p:spPr>
        <p:txBody>
          <a:bodyPr>
            <a:normAutofit fontScale="90000"/>
          </a:bodyPr>
          <a:lstStyle/>
          <a:p>
            <a:r>
              <a:rPr lang="en-GB" sz="3000" b="1" u="sng">
                <a:solidFill>
                  <a:srgbClr val="0000A0"/>
                </a:solidFill>
                <a:latin typeface="Mars Centra Extrabold"/>
              </a:rPr>
              <a:t>SAP MDG Security – Overview</a:t>
            </a:r>
            <a:endParaRPr lang="en-US" sz="3000" b="1" u="sng">
              <a:solidFill>
                <a:srgbClr val="0000A0"/>
              </a:solidFill>
              <a:latin typeface="Mars Centra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30564045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E3FDD9C8-0001-42C2-A43A-1F301439E21A}"/>
              </a:ext>
            </a:extLst>
          </p:cNvPr>
          <p:cNvSpPr txBox="1">
            <a:spLocks/>
          </p:cNvSpPr>
          <p:nvPr/>
        </p:nvSpPr>
        <p:spPr bwMode="gray">
          <a:xfrm>
            <a:off x="421631" y="116015"/>
            <a:ext cx="11505975" cy="1046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R="0" indent="0" defTabSz="9144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sz="2200" b="1" cap="none" spc="0" baseline="0">
                <a:ln>
                  <a:noFill/>
                </a:ln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sng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highlight>
                <a:srgbClr val="FFFF00"/>
              </a:highlight>
              <a:uLnTx/>
              <a:uFillTx/>
              <a:latin typeface="Mars Centra Extrabold (Headings)"/>
              <a:ea typeface="+mj-ea"/>
              <a:cs typeface="+mj-c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25253" y="276505"/>
            <a:ext cx="11425469" cy="557229"/>
          </a:xfrm>
          <a:prstGeom prst="rect">
            <a:avLst/>
          </a:prstGeom>
          <a:noFill/>
          <a:ln w="63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29" name="Title 3"/>
          <p:cNvSpPr txBox="1">
            <a:spLocks/>
          </p:cNvSpPr>
          <p:nvPr/>
        </p:nvSpPr>
        <p:spPr>
          <a:xfrm>
            <a:off x="206381" y="179855"/>
            <a:ext cx="11342734" cy="644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sng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 Extrabold (Headings)"/>
                <a:ea typeface="+mj-ea"/>
                <a:cs typeface="+mj-cs"/>
              </a:rPr>
              <a:t>SAP MDG</a:t>
            </a:r>
            <a:r>
              <a:rPr lang="en-GB" sz="2400" b="1" u="sng">
                <a:solidFill>
                  <a:srgbClr val="0000A0"/>
                </a:solidFill>
                <a:latin typeface="Mars Centra Extrabold (Headings)"/>
              </a:rPr>
              <a:t> MM – PNIN </a:t>
            </a:r>
            <a:r>
              <a:rPr kumimoji="0" lang="en-GB" sz="2400" b="1" i="0" u="sng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 Extrabold (Headings)"/>
                <a:ea typeface="+mj-ea"/>
                <a:cs typeface="+mj-cs"/>
              </a:rPr>
              <a:t>Business User Roles</a:t>
            </a:r>
            <a:endParaRPr kumimoji="0" lang="en-US" sz="2400" b="1" i="0" u="sng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uLnTx/>
              <a:uFillTx/>
              <a:latin typeface="Mars Centra Extrabold (Headings)"/>
              <a:ea typeface="+mj-ea"/>
              <a:cs typeface="+mj-cs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1659393"/>
              </p:ext>
            </p:extLst>
          </p:nvPr>
        </p:nvGraphicFramePr>
        <p:xfrm>
          <a:off x="206381" y="994224"/>
          <a:ext cx="11663211" cy="34663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6759">
                  <a:extLst>
                    <a:ext uri="{9D8B030D-6E8A-4147-A177-3AD203B41FA5}">
                      <a16:colId xmlns:a16="http://schemas.microsoft.com/office/drawing/2014/main" val="1504080491"/>
                    </a:ext>
                  </a:extLst>
                </a:gridCol>
                <a:gridCol w="3992852">
                  <a:extLst>
                    <a:ext uri="{9D8B030D-6E8A-4147-A177-3AD203B41FA5}">
                      <a16:colId xmlns:a16="http://schemas.microsoft.com/office/drawing/2014/main" val="1577200795"/>
                    </a:ext>
                  </a:extLst>
                </a:gridCol>
                <a:gridCol w="4983600">
                  <a:extLst>
                    <a:ext uri="{9D8B030D-6E8A-4147-A177-3AD203B41FA5}">
                      <a16:colId xmlns:a16="http://schemas.microsoft.com/office/drawing/2014/main" val="2191067436"/>
                    </a:ext>
                  </a:extLst>
                </a:gridCol>
              </a:tblGrid>
              <a:tr h="302123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>
                          <a:latin typeface="Mars Centra"/>
                        </a:rPr>
                        <a:t>Business Roles</a:t>
                      </a:r>
                      <a:endParaRPr lang="en-US" sz="16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>
                          <a:latin typeface="Mars Centra"/>
                        </a:rPr>
                        <a:t>Technical Roles</a:t>
                      </a:r>
                      <a:endParaRPr lang="en-US" sz="1600" b="1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+mn-lt"/>
                        </a:rPr>
                        <a:t>Summary/Details of Rol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85251817"/>
                  </a:ext>
                </a:extLst>
              </a:tr>
              <a:tr h="1043693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ter Data Team </a:t>
                      </a:r>
                    </a:p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LDA/MD)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effectLst/>
                          <a:latin typeface="Mars Centra (Body)"/>
                          <a:ea typeface="+mn-ea"/>
                          <a:cs typeface="+mn-cs"/>
                        </a:rPr>
                        <a:t>ZM3:MMD-PS_MD_PNIN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he MD user will create CR for General Data Enrichment, plant and sales extension and material change (single &amp; mass [FIORI]) processes. On submission the CR will be auto-approved. </a:t>
                      </a:r>
                      <a:r>
                        <a:rPr lang="en-US" sz="1200" b="0" kern="120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Arial" panose="020B0604020202020204" pitchFamily="34" charset="0"/>
                        </a:rPr>
                        <a:t>For</a:t>
                      </a:r>
                      <a:r>
                        <a:rPr lang="en-US" sz="1200" b="0" kern="1200" baseline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Arial" panose="020B0604020202020204" pitchFamily="34" charset="0"/>
                        </a:rPr>
                        <a:t> PIPE, NLAG, UNBW, ZPRM, VERP, ROH, FERT materials - MD user will perform </a:t>
                      </a:r>
                      <a:r>
                        <a:rPr lang="en-US" sz="1200" b="0" kern="120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Arial" panose="020B0604020202020204" pitchFamily="34" charset="0"/>
                        </a:rPr>
                        <a:t>these processes.</a:t>
                      </a:r>
                      <a:endParaRPr lang="en-US" sz="1200" b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757106"/>
                  </a:ext>
                </a:extLst>
              </a:tr>
              <a:tr h="1043693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ly Group (SP)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effectLst/>
                          <a:latin typeface="Mars Centra (Body)"/>
                          <a:ea typeface="+mn-ea"/>
                          <a:cs typeface="+mn-cs"/>
                        </a:rPr>
                        <a:t>ZM3:MMD-PS_LOG-INB_PNIN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he SP user will create CR for General Data Enrichment, plant and sales extension and workhouse creation and material change (single &amp; mass [FIORI]) processes. On submission the CR will be auto-approved. For </a:t>
                      </a:r>
                      <a:r>
                        <a:rPr lang="en-US" sz="1200" b="0" kern="1200" baseline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Arial" panose="020B0604020202020204" pitchFamily="34" charset="0"/>
                        </a:rPr>
                        <a:t>VERP, ROH, FERT </a:t>
                      </a:r>
                      <a:r>
                        <a:rPr lang="en-US" sz="1200" b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terials - SP user will perform these process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1145036"/>
                  </a:ext>
                </a:extLst>
              </a:tr>
              <a:tr h="1043693">
                <a:tc>
                  <a:txBody>
                    <a:bodyPr/>
                    <a:lstStyle/>
                    <a:p>
                      <a:pPr marL="0" marR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effectLst/>
                          <a:latin typeface="Mars Centra (Body)"/>
                          <a:ea typeface="+mn-ea"/>
                          <a:cs typeface="+mn-cs"/>
                        </a:rPr>
                        <a:t>Finance Team (SF)</a:t>
                      </a:r>
                      <a:endParaRPr lang="en-IN" sz="1400" b="1" kern="1200">
                        <a:solidFill>
                          <a:schemeClr val="tx1"/>
                        </a:solidFill>
                        <a:effectLst/>
                        <a:latin typeface="Mars Centra (Body)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400" b="1" kern="1200">
                          <a:solidFill>
                            <a:schemeClr val="tx1"/>
                          </a:solidFill>
                          <a:effectLst/>
                          <a:latin typeface="Mars Centra (Body)"/>
                          <a:ea typeface="+mn-ea"/>
                          <a:cs typeface="+mn-cs"/>
                        </a:rPr>
                        <a:t>ZM3:MMD-PS_FIN_PNI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he SF user will create CR for General Data Enrichment, plant and sales extension and workhouse creation and material change (single &amp; mass   [FIORI]) processes. On submission the CR will be auto-approved. For </a:t>
                      </a:r>
                      <a:r>
                        <a:rPr lang="en-US" sz="1200" b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ERP, ROH, FERT</a:t>
                      </a:r>
                      <a:r>
                        <a:rPr lang="en-US" sz="1200" b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materials - SF user will perform these processes.</a:t>
                      </a:r>
                    </a:p>
                    <a:p>
                      <a:pPr algn="ctr" fontAlgn="ctr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4114866"/>
                  </a:ext>
                </a:extLst>
              </a:tr>
            </a:tbl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CED7BE17-B751-8325-1656-183CB3404807}"/>
              </a:ext>
            </a:extLst>
          </p:cNvPr>
          <p:cNvSpPr txBox="1">
            <a:spLocks/>
          </p:cNvSpPr>
          <p:nvPr/>
        </p:nvSpPr>
        <p:spPr bwMode="gray">
          <a:xfrm>
            <a:off x="421631" y="3360671"/>
            <a:ext cx="11505975" cy="1046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R="0" indent="0" defTabSz="9144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sz="2200" b="1" cap="none" spc="0" baseline="0">
                <a:ln>
                  <a:noFill/>
                </a:ln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sng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highlight>
                <a:srgbClr val="FFFF00"/>
              </a:highlight>
              <a:uLnTx/>
              <a:uFillTx/>
              <a:latin typeface="Mars Centra Extrabold (Headings)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C3B3D0-5935-E3ED-A18E-A03B83701AEF}"/>
              </a:ext>
            </a:extLst>
          </p:cNvPr>
          <p:cNvSpPr txBox="1"/>
          <p:nvPr/>
        </p:nvSpPr>
        <p:spPr>
          <a:xfrm>
            <a:off x="209600" y="6224296"/>
            <a:ext cx="1121314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sng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Not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These are the Roles created as part of PNIN deployment.</a:t>
            </a:r>
          </a:p>
        </p:txBody>
      </p:sp>
    </p:spTree>
    <p:extLst>
      <p:ext uri="{BB962C8B-B14F-4D97-AF65-F5344CB8AC3E}">
        <p14:creationId xmlns:p14="http://schemas.microsoft.com/office/powerpoint/2010/main" val="12439097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E3FDD9C8-0001-42C2-A43A-1F301439E21A}"/>
              </a:ext>
            </a:extLst>
          </p:cNvPr>
          <p:cNvSpPr txBox="1">
            <a:spLocks/>
          </p:cNvSpPr>
          <p:nvPr/>
        </p:nvSpPr>
        <p:spPr bwMode="gray">
          <a:xfrm>
            <a:off x="421631" y="116015"/>
            <a:ext cx="11505975" cy="1046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R="0" indent="0" defTabSz="9144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sz="2200" b="1" cap="none" spc="0" baseline="0">
                <a:ln>
                  <a:noFill/>
                </a:ln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sng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highlight>
                <a:srgbClr val="FFFF00"/>
              </a:highlight>
              <a:uLnTx/>
              <a:uFillTx/>
              <a:latin typeface="Mars Centra Extrabold (Headings)"/>
              <a:ea typeface="+mj-ea"/>
              <a:cs typeface="+mj-c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25253" y="360588"/>
            <a:ext cx="11425469" cy="557229"/>
          </a:xfrm>
          <a:prstGeom prst="rect">
            <a:avLst/>
          </a:prstGeom>
          <a:noFill/>
          <a:ln w="63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29" name="Title 3"/>
          <p:cNvSpPr txBox="1">
            <a:spLocks/>
          </p:cNvSpPr>
          <p:nvPr/>
        </p:nvSpPr>
        <p:spPr>
          <a:xfrm>
            <a:off x="148367" y="8486"/>
            <a:ext cx="11335609" cy="5974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GB" sz="2400" b="1" u="sng">
                <a:solidFill>
                  <a:srgbClr val="0000A0"/>
                </a:solidFill>
                <a:latin typeface="Mars Centra Extrabold (Headings)"/>
              </a:rPr>
              <a:t>SAP MDG Material Master Technical Roles : PNIN</a:t>
            </a:r>
            <a:endParaRPr lang="en-US" sz="2400" b="1" u="sng">
              <a:solidFill>
                <a:srgbClr val="0000A0"/>
              </a:solidFill>
              <a:latin typeface="Mars Centra Extrabold (Headings)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3654482"/>
              </p:ext>
            </p:extLst>
          </p:nvPr>
        </p:nvGraphicFramePr>
        <p:xfrm>
          <a:off x="264394" y="605903"/>
          <a:ext cx="11623642" cy="4094712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683037">
                  <a:extLst>
                    <a:ext uri="{9D8B030D-6E8A-4147-A177-3AD203B41FA5}">
                      <a16:colId xmlns:a16="http://schemas.microsoft.com/office/drawing/2014/main" val="572017040"/>
                    </a:ext>
                  </a:extLst>
                </a:gridCol>
                <a:gridCol w="2189849">
                  <a:extLst>
                    <a:ext uri="{9D8B030D-6E8A-4147-A177-3AD203B41FA5}">
                      <a16:colId xmlns:a16="http://schemas.microsoft.com/office/drawing/2014/main" val="974017645"/>
                    </a:ext>
                  </a:extLst>
                </a:gridCol>
                <a:gridCol w="936785">
                  <a:extLst>
                    <a:ext uri="{9D8B030D-6E8A-4147-A177-3AD203B41FA5}">
                      <a16:colId xmlns:a16="http://schemas.microsoft.com/office/drawing/2014/main" val="1949845601"/>
                    </a:ext>
                  </a:extLst>
                </a:gridCol>
                <a:gridCol w="1082515">
                  <a:extLst>
                    <a:ext uri="{9D8B030D-6E8A-4147-A177-3AD203B41FA5}">
                      <a16:colId xmlns:a16="http://schemas.microsoft.com/office/drawing/2014/main" val="2089597225"/>
                    </a:ext>
                  </a:extLst>
                </a:gridCol>
                <a:gridCol w="1026367">
                  <a:extLst>
                    <a:ext uri="{9D8B030D-6E8A-4147-A177-3AD203B41FA5}">
                      <a16:colId xmlns:a16="http://schemas.microsoft.com/office/drawing/2014/main" val="2899110617"/>
                    </a:ext>
                  </a:extLst>
                </a:gridCol>
                <a:gridCol w="1010687">
                  <a:extLst>
                    <a:ext uri="{9D8B030D-6E8A-4147-A177-3AD203B41FA5}">
                      <a16:colId xmlns:a16="http://schemas.microsoft.com/office/drawing/2014/main" val="2940240216"/>
                    </a:ext>
                  </a:extLst>
                </a:gridCol>
                <a:gridCol w="1722819">
                  <a:extLst>
                    <a:ext uri="{9D8B030D-6E8A-4147-A177-3AD203B41FA5}">
                      <a16:colId xmlns:a16="http://schemas.microsoft.com/office/drawing/2014/main" val="692979910"/>
                    </a:ext>
                  </a:extLst>
                </a:gridCol>
                <a:gridCol w="971583">
                  <a:extLst>
                    <a:ext uri="{9D8B030D-6E8A-4147-A177-3AD203B41FA5}">
                      <a16:colId xmlns:a16="http://schemas.microsoft.com/office/drawing/2014/main" val="779446633"/>
                    </a:ext>
                  </a:extLst>
                </a:gridCol>
              </a:tblGrid>
              <a:tr h="26895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Role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Description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Company Code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Warehouse Number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ales Organization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Distribution Channel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Plants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MMCLUSTER ID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extLst>
                  <a:ext uri="{0D108BD9-81ED-4DB2-BD59-A6C34878D82A}">
                    <a16:rowId xmlns:a16="http://schemas.microsoft.com/office/drawing/2014/main" val="425397041"/>
                  </a:ext>
                </a:extLst>
              </a:tr>
              <a:tr h="2667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3:MMD-MM_G-FWK-TB-DEL_PNIN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MM Global Framework Table Delete - Pet Nutrition Indi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IN</a:t>
                      </a:r>
                    </a:p>
                  </a:txBody>
                  <a:tcPr marL="7620" marR="7620" marT="7620" anchor="ctr"/>
                </a:tc>
                <a:extLst>
                  <a:ext uri="{0D108BD9-81ED-4DB2-BD59-A6C34878D82A}">
                    <a16:rowId xmlns:a16="http://schemas.microsoft.com/office/drawing/2014/main" val="1485708764"/>
                  </a:ext>
                </a:extLst>
              </a:tr>
              <a:tr h="2667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3:MMD-MM_G-FWK-TB-MNT_PNIN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MM Global Framework Table Maintenance - Pet Nutrition Indi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IN</a:t>
                      </a:r>
                    </a:p>
                  </a:txBody>
                  <a:tcPr marL="7620" marR="7620" marT="7620" anchor="ctr"/>
                </a:tc>
                <a:extLst>
                  <a:ext uri="{0D108BD9-81ED-4DB2-BD59-A6C34878D82A}">
                    <a16:rowId xmlns:a16="http://schemas.microsoft.com/office/drawing/2014/main" val="3975258860"/>
                  </a:ext>
                </a:extLst>
              </a:tr>
              <a:tr h="2667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2:MMD-MM_G-FWK-TB-DIS_PNIN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MM Global Framework Table Display - Pet Nutrition Indi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IN</a:t>
                      </a:r>
                    </a:p>
                  </a:txBody>
                  <a:tcPr marL="7620" marR="7620" marT="7620" anchor="ctr"/>
                </a:tc>
                <a:extLst>
                  <a:ext uri="{0D108BD9-81ED-4DB2-BD59-A6C34878D82A}">
                    <a16:rowId xmlns:a16="http://schemas.microsoft.com/office/drawing/2014/main" val="1398631471"/>
                  </a:ext>
                </a:extLst>
              </a:tr>
              <a:tr h="2037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M3:MMD-GD_MNT_GLB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MD GD Maintenance - Global (Create and Change)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7620" marR="7620" marT="7620" anchor="ctr"/>
                </a:tc>
                <a:extLst>
                  <a:ext uri="{0D108BD9-81ED-4DB2-BD59-A6C34878D82A}">
                    <a16:rowId xmlns:a16="http://schemas.microsoft.com/office/drawing/2014/main" val="1637758655"/>
                  </a:ext>
                </a:extLst>
              </a:tr>
              <a:tr h="2667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3:MMD-MD_MPRC-PLSLS_PNIN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MD Mass Process Plant and Sales –Pet Nutrition Indi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NIN</a:t>
                      </a:r>
                      <a:endParaRPr lang="en-US" sz="1200"/>
                    </a:p>
                  </a:txBody>
                  <a:tcPr marL="6350" marR="6350" marT="6350" anchor="ctr"/>
                </a:tc>
                <a:extLst>
                  <a:ext uri="{0D108BD9-81ED-4DB2-BD59-A6C34878D82A}">
                    <a16:rowId xmlns:a16="http://schemas.microsoft.com/office/drawing/2014/main" val="730232004"/>
                  </a:ext>
                </a:extLst>
              </a:tr>
              <a:tr h="103274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3:MMD-MD_MCHG-PLSLS_PNIN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MD Mass Change Plant and Sales - Pet Nutrition Indi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8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11,35,50,99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cap="none" spc="0">
                          <a:solidFill>
                            <a:schemeClr val="tx1"/>
                          </a:solidFill>
                        </a:rPr>
                        <a:t>IN00,IN01,IN03,IN04,IN05,IN06,IN07,IN08,IN09,IN10,IN11,IN12,IN13,IN14,IN15,IN16,IN17,IN18,IN19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IN</a:t>
                      </a:r>
                    </a:p>
                  </a:txBody>
                  <a:tcPr marL="7620" marR="7620" marT="7620" anchor="ctr"/>
                </a:tc>
                <a:extLst>
                  <a:ext uri="{0D108BD9-81ED-4DB2-BD59-A6C34878D82A}">
                    <a16:rowId xmlns:a16="http://schemas.microsoft.com/office/drawing/2014/main" val="710476193"/>
                  </a:ext>
                </a:extLst>
              </a:tr>
              <a:tr h="2037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3:MMD-PS_VAR-CTRL_PNIN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PS Variant Control – Pet Nutrition Indi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NIN</a:t>
                      </a:r>
                      <a:endParaRPr lang="en-US" sz="1200"/>
                    </a:p>
                  </a:txBody>
                  <a:tcPr marL="6350" marR="6350" marT="6350" anchor="ctr"/>
                </a:tc>
                <a:extLst>
                  <a:ext uri="{0D108BD9-81ED-4DB2-BD59-A6C34878D82A}">
                    <a16:rowId xmlns:a16="http://schemas.microsoft.com/office/drawing/2014/main" val="4055027592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09600" y="6224296"/>
            <a:ext cx="1121314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 If we have * then it provides access to all the values Ex: a plant value * will give access to all the plant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 If we have “ (NULL) then it does not provide access to any value. </a:t>
            </a:r>
          </a:p>
        </p:txBody>
      </p:sp>
    </p:spTree>
    <p:extLst>
      <p:ext uri="{BB962C8B-B14F-4D97-AF65-F5344CB8AC3E}">
        <p14:creationId xmlns:p14="http://schemas.microsoft.com/office/powerpoint/2010/main" val="12138720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E3FDD9C8-0001-42C2-A43A-1F301439E21A}"/>
              </a:ext>
            </a:extLst>
          </p:cNvPr>
          <p:cNvSpPr txBox="1">
            <a:spLocks/>
          </p:cNvSpPr>
          <p:nvPr/>
        </p:nvSpPr>
        <p:spPr bwMode="gray">
          <a:xfrm>
            <a:off x="421631" y="116015"/>
            <a:ext cx="11505975" cy="1046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R="0" indent="0" defTabSz="9144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sz="2200" b="1" cap="none" spc="0" baseline="0">
                <a:ln>
                  <a:noFill/>
                </a:ln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sng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highlight>
                <a:srgbClr val="FFFF00"/>
              </a:highlight>
              <a:uLnTx/>
              <a:uFillTx/>
              <a:latin typeface="Mars Centra Extrabold (Headings)"/>
              <a:ea typeface="+mj-ea"/>
              <a:cs typeface="+mj-c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25253" y="360588"/>
            <a:ext cx="11425469" cy="557229"/>
          </a:xfrm>
          <a:prstGeom prst="rect">
            <a:avLst/>
          </a:prstGeom>
          <a:noFill/>
          <a:ln w="63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29" name="Title 3"/>
          <p:cNvSpPr txBox="1">
            <a:spLocks/>
          </p:cNvSpPr>
          <p:nvPr/>
        </p:nvSpPr>
        <p:spPr>
          <a:xfrm>
            <a:off x="264394" y="320029"/>
            <a:ext cx="11335609" cy="5974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GB" sz="2400" b="1" u="sng">
                <a:solidFill>
                  <a:srgbClr val="0000A0"/>
                </a:solidFill>
                <a:latin typeface="Mars Centra Extrabold (Headings)"/>
              </a:rPr>
              <a:t>SAP MDG Material Master Technical Roles : PNIN (Cont.)</a:t>
            </a:r>
            <a:endParaRPr lang="en-US" sz="2400" b="1" u="sng">
              <a:solidFill>
                <a:srgbClr val="0000A0"/>
              </a:solidFill>
              <a:latin typeface="Mars Centra Extrabold (Headings)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38887"/>
              </p:ext>
            </p:extLst>
          </p:nvPr>
        </p:nvGraphicFramePr>
        <p:xfrm>
          <a:off x="362797" y="1514492"/>
          <a:ext cx="11623642" cy="3463986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683037">
                  <a:extLst>
                    <a:ext uri="{9D8B030D-6E8A-4147-A177-3AD203B41FA5}">
                      <a16:colId xmlns:a16="http://schemas.microsoft.com/office/drawing/2014/main" val="572017040"/>
                    </a:ext>
                  </a:extLst>
                </a:gridCol>
                <a:gridCol w="2189849">
                  <a:extLst>
                    <a:ext uri="{9D8B030D-6E8A-4147-A177-3AD203B41FA5}">
                      <a16:colId xmlns:a16="http://schemas.microsoft.com/office/drawing/2014/main" val="974017645"/>
                    </a:ext>
                  </a:extLst>
                </a:gridCol>
                <a:gridCol w="936785">
                  <a:extLst>
                    <a:ext uri="{9D8B030D-6E8A-4147-A177-3AD203B41FA5}">
                      <a16:colId xmlns:a16="http://schemas.microsoft.com/office/drawing/2014/main" val="1949845601"/>
                    </a:ext>
                  </a:extLst>
                </a:gridCol>
                <a:gridCol w="865215">
                  <a:extLst>
                    <a:ext uri="{9D8B030D-6E8A-4147-A177-3AD203B41FA5}">
                      <a16:colId xmlns:a16="http://schemas.microsoft.com/office/drawing/2014/main" val="2089597225"/>
                    </a:ext>
                  </a:extLst>
                </a:gridCol>
                <a:gridCol w="1113038">
                  <a:extLst>
                    <a:ext uri="{9D8B030D-6E8A-4147-A177-3AD203B41FA5}">
                      <a16:colId xmlns:a16="http://schemas.microsoft.com/office/drawing/2014/main" val="2899110617"/>
                    </a:ext>
                  </a:extLst>
                </a:gridCol>
                <a:gridCol w="942392">
                  <a:extLst>
                    <a:ext uri="{9D8B030D-6E8A-4147-A177-3AD203B41FA5}">
                      <a16:colId xmlns:a16="http://schemas.microsoft.com/office/drawing/2014/main" val="2940240216"/>
                    </a:ext>
                  </a:extLst>
                </a:gridCol>
                <a:gridCol w="1921743">
                  <a:extLst>
                    <a:ext uri="{9D8B030D-6E8A-4147-A177-3AD203B41FA5}">
                      <a16:colId xmlns:a16="http://schemas.microsoft.com/office/drawing/2014/main" val="692979910"/>
                    </a:ext>
                  </a:extLst>
                </a:gridCol>
                <a:gridCol w="971583">
                  <a:extLst>
                    <a:ext uri="{9D8B030D-6E8A-4147-A177-3AD203B41FA5}">
                      <a16:colId xmlns:a16="http://schemas.microsoft.com/office/drawing/2014/main" val="779446633"/>
                    </a:ext>
                  </a:extLst>
                </a:gridCol>
              </a:tblGrid>
              <a:tr h="26895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Role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Description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Company Code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Warehouse Number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ales Organization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Distribution Channel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Plants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MMCLUSTER ID</a:t>
                      </a:r>
                      <a:endParaRPr lang="en-US" sz="1200">
                        <a:effectLst/>
                        <a:latin typeface="Mars Centra"/>
                        <a:ea typeface="Calibri" panose="020F0502020204030204" pitchFamily="34" charset="0"/>
                      </a:endParaRPr>
                    </a:p>
                  </a:txBody>
                  <a:tcPr marL="60049" marR="60049" marT="0" marB="0" anchor="ctr"/>
                </a:tc>
                <a:extLst>
                  <a:ext uri="{0D108BD9-81ED-4DB2-BD59-A6C34878D82A}">
                    <a16:rowId xmlns:a16="http://schemas.microsoft.com/office/drawing/2014/main" val="425397041"/>
                  </a:ext>
                </a:extLst>
              </a:tr>
              <a:tr h="103274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3:MMD-PS_MD_PNIN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PS Master Data - Pet Nutrition Indi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8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10,11,35,50,99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IN00,IN01,IN03,IN04,IN05,IN06,IN07,IN08,IN09,IN10,IN11,IN12,IN13,IN14,IN15,IN16,IN17,IN18,IN19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IN</a:t>
                      </a:r>
                    </a:p>
                  </a:txBody>
                  <a:tcPr marL="7620" marR="7620" marT="7620" anchor="ctr"/>
                </a:tc>
                <a:extLst>
                  <a:ext uri="{0D108BD9-81ED-4DB2-BD59-A6C34878D82A}">
                    <a16:rowId xmlns:a16="http://schemas.microsoft.com/office/drawing/2014/main" val="896509367"/>
                  </a:ext>
                </a:extLst>
              </a:tr>
              <a:tr h="103274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3:MMD-PS_LOG-INB_PNIN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PS Logistics Inbound -Pet Nutrition Indi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N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8</a:t>
                      </a:r>
                      <a:endParaRPr lang="en-US"/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388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10,11,35,50,99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IN00,IN01,IN03,IN04,IN05,IN06,IN07,IN08,IN09,IN10,IN11,IN12,IN13,IN14,IN15,IN16,IN17,IN18,IN19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IN</a:t>
                      </a:r>
                    </a:p>
                  </a:txBody>
                  <a:tcPr marL="7620" marR="7620" marT="7620" anchor="ctr"/>
                </a:tc>
                <a:extLst>
                  <a:ext uri="{0D108BD9-81ED-4DB2-BD59-A6C34878D82A}">
                    <a16:rowId xmlns:a16="http://schemas.microsoft.com/office/drawing/2014/main" val="1546454281"/>
                  </a:ext>
                </a:extLst>
              </a:tr>
              <a:tr h="103274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3:MMD-PS_FIN_PNIN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PS Finance - 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t Nutrition India</a:t>
                      </a:r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N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8</a:t>
                      </a:r>
                      <a:endParaRPr lang="en-US"/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8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,11,35,50,99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IN00,IN01,IN03,IN04,IN05,IN06,IN07,IN08,IN09,IN10,IN11,IN12,IN13,IN14,IN15,IN16,IN17,IN18,IN19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IN</a:t>
                      </a:r>
                    </a:p>
                  </a:txBody>
                  <a:tcPr marL="7620" marR="7620" marT="7620" anchor="ctr"/>
                </a:tc>
                <a:extLst>
                  <a:ext uri="{0D108BD9-81ED-4DB2-BD59-A6C34878D82A}">
                    <a16:rowId xmlns:a16="http://schemas.microsoft.com/office/drawing/2014/main" val="3150480422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09600" y="6251190"/>
            <a:ext cx="1121314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 If we have * then it provides access to all the values Ex: a plant value * will give access to all the plant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 If we have “ (NULL) then it does not provide access to any value. </a:t>
            </a:r>
          </a:p>
        </p:txBody>
      </p:sp>
    </p:spTree>
    <p:extLst>
      <p:ext uri="{BB962C8B-B14F-4D97-AF65-F5344CB8AC3E}">
        <p14:creationId xmlns:p14="http://schemas.microsoft.com/office/powerpoint/2010/main" val="34475810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E3FDD9C8-0001-42C2-A43A-1F301439E21A}"/>
              </a:ext>
            </a:extLst>
          </p:cNvPr>
          <p:cNvSpPr txBox="1">
            <a:spLocks/>
          </p:cNvSpPr>
          <p:nvPr/>
        </p:nvSpPr>
        <p:spPr bwMode="gray">
          <a:xfrm>
            <a:off x="421631" y="116015"/>
            <a:ext cx="11505975" cy="1046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R="0" indent="0" defTabSz="9144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sz="2200" b="1" cap="none" spc="0" baseline="0">
                <a:ln>
                  <a:noFill/>
                </a:ln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sng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highlight>
                <a:srgbClr val="FFFF00"/>
              </a:highlight>
              <a:uLnTx/>
              <a:uFillTx/>
              <a:latin typeface="Mars Centra Extrabold (Headings)"/>
              <a:ea typeface="+mj-ea"/>
              <a:cs typeface="+mj-cs"/>
            </a:endParaRPr>
          </a:p>
        </p:txBody>
      </p:sp>
      <p:sp>
        <p:nvSpPr>
          <p:cNvPr id="29" name="Title 3"/>
          <p:cNvSpPr txBox="1">
            <a:spLocks/>
          </p:cNvSpPr>
          <p:nvPr/>
        </p:nvSpPr>
        <p:spPr>
          <a:xfrm>
            <a:off x="181974" y="157385"/>
            <a:ext cx="11342733" cy="5572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z="2400" b="1" u="sng">
                <a:solidFill>
                  <a:srgbClr val="0000A0"/>
                </a:solidFill>
                <a:latin typeface="Mars Centra Extrabold"/>
              </a:rPr>
              <a:t>SAP MDG Material Master Roles For Global Framework Tables: PNIN</a:t>
            </a:r>
            <a:endParaRPr lang="en-US" sz="2400" b="1" u="sng">
              <a:solidFill>
                <a:srgbClr val="0000A0"/>
              </a:solidFill>
              <a:latin typeface="Mars Centra Extrabold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6315548"/>
              </p:ext>
            </p:extLst>
          </p:nvPr>
        </p:nvGraphicFramePr>
        <p:xfrm>
          <a:off x="264394" y="1158304"/>
          <a:ext cx="11505975" cy="325178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826884">
                  <a:extLst>
                    <a:ext uri="{9D8B030D-6E8A-4147-A177-3AD203B41FA5}">
                      <a16:colId xmlns:a16="http://schemas.microsoft.com/office/drawing/2014/main" val="966124935"/>
                    </a:ext>
                  </a:extLst>
                </a:gridCol>
                <a:gridCol w="3551580">
                  <a:extLst>
                    <a:ext uri="{9D8B030D-6E8A-4147-A177-3AD203B41FA5}">
                      <a16:colId xmlns:a16="http://schemas.microsoft.com/office/drawing/2014/main" val="847510982"/>
                    </a:ext>
                  </a:extLst>
                </a:gridCol>
                <a:gridCol w="4127511">
                  <a:extLst>
                    <a:ext uri="{9D8B030D-6E8A-4147-A177-3AD203B41FA5}">
                      <a16:colId xmlns:a16="http://schemas.microsoft.com/office/drawing/2014/main" val="3724181339"/>
                    </a:ext>
                  </a:extLst>
                </a:gridCol>
              </a:tblGrid>
              <a:tr h="61139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Role</a:t>
                      </a:r>
                      <a:endParaRPr lang="en-US" sz="16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91" marR="9491" marT="949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Description</a:t>
                      </a:r>
                      <a:endParaRPr lang="en-US" sz="1600" b="1" i="0" u="none" strike="noStrike">
                        <a:solidFill>
                          <a:srgbClr val="FA7D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91" marR="9491" marT="949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kern="1200">
                          <a:solidFill>
                            <a:schemeClr val="lt1"/>
                          </a:solidFill>
                          <a:effectLst/>
                        </a:rPr>
                        <a:t>Comments</a:t>
                      </a:r>
                      <a:endParaRPr lang="en-US" sz="1600" b="1" u="none" strike="noStrike" kern="120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1" marR="9491" marT="9491" marB="0" anchor="ctr"/>
                </a:tc>
                <a:extLst>
                  <a:ext uri="{0D108BD9-81ED-4DB2-BD59-A6C34878D82A}">
                    <a16:rowId xmlns:a16="http://schemas.microsoft.com/office/drawing/2014/main" val="2836658013"/>
                  </a:ext>
                </a:extLst>
              </a:tr>
              <a:tr h="80534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>
                          <a:solidFill>
                            <a:srgbClr val="000000"/>
                          </a:solidFill>
                          <a:effectLst/>
                        </a:rPr>
                        <a:t>ZM3:MMD-MM_G-FWK-TB-DEL_PNIN</a:t>
                      </a:r>
                      <a:endParaRPr lang="en-IN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MM Global Framework Table Delete - Pet Nutrition Indi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Role Provides the Delete capability to all the Global Framework Table Specific to PNIN Cluster</a:t>
                      </a:r>
                    </a:p>
                  </a:txBody>
                  <a:tcPr marL="9491" marR="9491" marT="9491" marB="0" anchor="ctr"/>
                </a:tc>
                <a:extLst>
                  <a:ext uri="{0D108BD9-81ED-4DB2-BD59-A6C34878D82A}">
                    <a16:rowId xmlns:a16="http://schemas.microsoft.com/office/drawing/2014/main" val="672973557"/>
                  </a:ext>
                </a:extLst>
              </a:tr>
              <a:tr h="87960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M3:MMD-MM_G-FWK-TB-MNT_PNI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MM Global Framework Table Maintenance - Pet Nutrition Indi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Role Provides the Maintenance (Add, Change and Display) capability to all the Global Framework Table specific to PNIN cluster</a:t>
                      </a:r>
                    </a:p>
                  </a:txBody>
                  <a:tcPr marL="9491" marR="9491" marT="9491" marB="0" anchor="ctr"/>
                </a:tc>
                <a:extLst>
                  <a:ext uri="{0D108BD9-81ED-4DB2-BD59-A6C34878D82A}">
                    <a16:rowId xmlns:a16="http://schemas.microsoft.com/office/drawing/2014/main" val="3157623617"/>
                  </a:ext>
                </a:extLst>
              </a:tr>
              <a:tr h="955443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M2:MMD-MM_G-FWK-TB-DIS_PNI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D MM Global Framework Table Display - Pet Nutrition India</a:t>
                      </a:r>
                    </a:p>
                  </a:txBody>
                  <a:tcPr marL="7620" marR="7620" marT="76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Role Provides the Display capability to all the Global Framework Table Specific to PNIN Cluster</a:t>
                      </a:r>
                    </a:p>
                  </a:txBody>
                  <a:tcPr marL="9491" marR="9491" marT="9491" marB="0" anchor="ctr"/>
                </a:tc>
                <a:extLst>
                  <a:ext uri="{0D108BD9-81ED-4DB2-BD59-A6C34878D82A}">
                    <a16:rowId xmlns:a16="http://schemas.microsoft.com/office/drawing/2014/main" val="24636518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17969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649433" y="82363"/>
            <a:ext cx="7204618" cy="566075"/>
          </a:xfrm>
        </p:spPr>
        <p:txBody>
          <a:bodyPr>
            <a:normAutofit/>
          </a:bodyPr>
          <a:lstStyle/>
          <a:p>
            <a:pPr fontAlgn="base">
              <a:defRPr/>
            </a:pPr>
            <a:r>
              <a:rPr lang="en-US" sz="3000" b="1" u="sng">
                <a:solidFill>
                  <a:srgbClr val="0000A0"/>
                </a:solidFill>
                <a:latin typeface="Mars Centra Extrabold"/>
              </a:rPr>
              <a:t>Change Request Types in MDG</a:t>
            </a:r>
          </a:p>
        </p:txBody>
      </p:sp>
      <p:sp>
        <p:nvSpPr>
          <p:cNvPr id="10" name="Rectangle 9"/>
          <p:cNvSpPr/>
          <p:nvPr/>
        </p:nvSpPr>
        <p:spPr>
          <a:xfrm>
            <a:off x="781110" y="777164"/>
            <a:ext cx="10933370" cy="92572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rgbClr val="3C3C3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hange Requests types performs specific actions like Create, Update and Mass Change.</a:t>
            </a:r>
            <a:endParaRPr lang="en-US">
              <a:solidFill>
                <a:srgbClr val="FF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rgbClr val="3C3C3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llowing change requests types have been configured to facilitate extensions , changes , status updates and mass processing  of material to either Plants or to Sales organizations.</a:t>
            </a:r>
            <a:endParaRPr kumimoji="0" lang="en-US" sz="1800" i="0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9381435"/>
              </p:ext>
            </p:extLst>
          </p:nvPr>
        </p:nvGraphicFramePr>
        <p:xfrm>
          <a:off x="781110" y="1973382"/>
          <a:ext cx="10933370" cy="44317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7382">
                  <a:extLst>
                    <a:ext uri="{9D8B030D-6E8A-4147-A177-3AD203B41FA5}">
                      <a16:colId xmlns:a16="http://schemas.microsoft.com/office/drawing/2014/main" val="388448014"/>
                    </a:ext>
                  </a:extLst>
                </a:gridCol>
                <a:gridCol w="1707767">
                  <a:extLst>
                    <a:ext uri="{9D8B030D-6E8A-4147-A177-3AD203B41FA5}">
                      <a16:colId xmlns:a16="http://schemas.microsoft.com/office/drawing/2014/main" val="3939210424"/>
                    </a:ext>
                  </a:extLst>
                </a:gridCol>
                <a:gridCol w="3525671">
                  <a:extLst>
                    <a:ext uri="{9D8B030D-6E8A-4147-A177-3AD203B41FA5}">
                      <a16:colId xmlns:a16="http://schemas.microsoft.com/office/drawing/2014/main" val="1490822969"/>
                    </a:ext>
                  </a:extLst>
                </a:gridCol>
                <a:gridCol w="4982550">
                  <a:extLst>
                    <a:ext uri="{9D8B030D-6E8A-4147-A177-3AD203B41FA5}">
                      <a16:colId xmlns:a16="http://schemas.microsoft.com/office/drawing/2014/main" val="2063224580"/>
                    </a:ext>
                  </a:extLst>
                </a:gridCol>
              </a:tblGrid>
              <a:tr h="79862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>
                          <a:solidFill>
                            <a:schemeClr val="bg1"/>
                          </a:solidFill>
                          <a:effectLst/>
                        </a:rPr>
                        <a:t>Sl</a:t>
                      </a:r>
                      <a:r>
                        <a:rPr lang="en-US" sz="1800">
                          <a:solidFill>
                            <a:schemeClr val="bg1"/>
                          </a:solidFill>
                          <a:effectLst/>
                        </a:rPr>
                        <a:t>. </a:t>
                      </a:r>
                      <a:r>
                        <a:rPr lang="en-US" sz="1800" b="1" kern="1200">
                          <a:solidFill>
                            <a:schemeClr val="bg1"/>
                          </a:solidFill>
                          <a:effectLst/>
                        </a:rPr>
                        <a:t>No</a:t>
                      </a:r>
                      <a:endParaRPr lang="en-US" sz="1800" b="1" kern="120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6991" marR="6699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chemeClr val="bg1"/>
                          </a:solidFill>
                          <a:effectLst/>
                        </a:rPr>
                        <a:t>Change Request Type</a:t>
                      </a:r>
                      <a:endParaRPr lang="en-US" sz="180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991" marR="6699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>
                          <a:solidFill>
                            <a:schemeClr val="bg1"/>
                          </a:solidFill>
                          <a:effectLst/>
                        </a:rPr>
                        <a:t>Description</a:t>
                      </a:r>
                      <a:endParaRPr lang="en-US" sz="1800" b="1" kern="120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6991" marR="6699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>
                          <a:solidFill>
                            <a:schemeClr val="bg1"/>
                          </a:solidFill>
                          <a:effectLst/>
                        </a:rPr>
                        <a:t>Purpose</a:t>
                      </a:r>
                      <a:endParaRPr lang="en-US" sz="1800" b="1" kern="120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6991" marR="66991" marT="0" marB="0" anchor="ctr"/>
                </a:tc>
                <a:extLst>
                  <a:ext uri="{0D108BD9-81ED-4DB2-BD59-A6C34878D82A}">
                    <a16:rowId xmlns:a16="http://schemas.microsoft.com/office/drawing/2014/main" val="3205137124"/>
                  </a:ext>
                </a:extLst>
              </a:tr>
              <a:tr h="70706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effectLst/>
                        </a:rPr>
                        <a:t>1</a:t>
                      </a:r>
                      <a:endParaRPr lang="en-US" sz="1800" b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6991" marR="66991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ZMPLNT0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Process Material - Plant/Sales Extensio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For </a:t>
                      </a:r>
                      <a:r>
                        <a:rPr lang="en-US" sz="1800" b="0" u="none" strike="noStrike" baseline="0">
                          <a:solidFill>
                            <a:srgbClr val="000000"/>
                          </a:solidFill>
                          <a:effectLst/>
                        </a:rPr>
                        <a:t>Plant/Sales Area extension for all the material types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21724326"/>
                  </a:ext>
                </a:extLst>
              </a:tr>
              <a:tr h="6444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effectLst/>
                        </a:rPr>
                        <a:t>2</a:t>
                      </a:r>
                      <a:endParaRPr lang="en-US" sz="1800" b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6991" marR="66991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ZMPLTCHG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Material Plant Attributes Updat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For field maintenance process </a:t>
                      </a:r>
                      <a:r>
                        <a:rPr lang="en-US" sz="1800" b="0" u="none" strike="noStrike" baseline="0">
                          <a:solidFill>
                            <a:srgbClr val="000000"/>
                          </a:solidFill>
                          <a:effectLst/>
                        </a:rPr>
                        <a:t>for all the material types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75115430"/>
                  </a:ext>
                </a:extLst>
              </a:tr>
              <a:tr h="53641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solidFill>
                            <a:srgbClr val="FF0000"/>
                          </a:solidFill>
                          <a:effectLst/>
                        </a:rPr>
                        <a:t>3</a:t>
                      </a:r>
                      <a:endParaRPr lang="en-US" sz="1800" b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6991" marR="66991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ZZMAT01</a:t>
                      </a:r>
                      <a:endParaRPr lang="en-US" sz="18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800" b="0" u="none" strike="noStrike">
                          <a:solidFill>
                            <a:srgbClr val="FF0000"/>
                          </a:solidFill>
                          <a:effectLst/>
                        </a:rPr>
                        <a:t>Material Creation</a:t>
                      </a:r>
                      <a:endParaRPr lang="en-US" sz="18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indent="0" algn="l" fontAlgn="b">
                        <a:tabLst>
                          <a:tab pos="58738" algn="l"/>
                        </a:tabLst>
                      </a:pPr>
                      <a:r>
                        <a:rPr lang="en-US" sz="1800" b="0" u="none" strike="noStrike" kern="1200">
                          <a:solidFill>
                            <a:srgbClr val="FF0000"/>
                          </a:solidFill>
                          <a:effectLst/>
                        </a:rPr>
                        <a:t>For creating ZPRM, VERP Phantom materials</a:t>
                      </a:r>
                      <a:endParaRPr lang="en-US" sz="1800" b="0" i="0" u="none" strike="noStrike" kern="120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87078669"/>
                  </a:ext>
                </a:extLst>
              </a:tr>
              <a:tr h="53993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effectLst/>
                        </a:rPr>
                        <a:t>4</a:t>
                      </a:r>
                      <a:endParaRPr lang="en-US" sz="1800" b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6991" marR="66991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ZZMAT0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800" b="0" u="none" strike="noStrike">
                          <a:solidFill>
                            <a:srgbClr val="000000"/>
                          </a:solidFill>
                          <a:effectLst/>
                        </a:rPr>
                        <a:t>Process Materials 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800" b="0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Basic data field maintenance for all material types</a:t>
                      </a:r>
                      <a:endParaRPr lang="en-US" sz="1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318839"/>
                  </a:ext>
                </a:extLst>
              </a:tr>
              <a:tr h="56086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66991" marR="66991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T0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8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 Processing Plant and Sales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indent="0" algn="l" fontAlgn="b">
                        <a:tabLst>
                          <a:tab pos="58738" algn="l"/>
                        </a:tabLst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ORI Mass Process for Plant and Sales data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3492567"/>
                  </a:ext>
                </a:extLst>
              </a:tr>
              <a:tr h="64443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66991" marR="66991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ZMAT0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/>
                        <a:t>MARS-Mass Process Mat. Plant/Sales data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 Change for Plant and Sales data (NWBC File download/Upload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12918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83945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6">
            <a:extLst>
              <a:ext uri="{FF2B5EF4-FFF2-40B4-BE49-F238E27FC236}">
                <a16:creationId xmlns:a16="http://schemas.microsoft.com/office/drawing/2014/main" id="{69D184B2-2226-4E31-BCCB-4443307674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118533" y="918266"/>
            <a:ext cx="706127" cy="5863534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7">
            <a:extLst>
              <a:ext uri="{FF2B5EF4-FFF2-40B4-BE49-F238E27FC236}">
                <a16:creationId xmlns:a16="http://schemas.microsoft.com/office/drawing/2014/main" id="{1AC4D4E3-486A-464A-8EC8-D448810972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117879" y="643467"/>
            <a:ext cx="420307" cy="5668919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64DE13E-58EB-4475-B79C-0D4FC65123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38387" y="643467"/>
            <a:ext cx="10933503" cy="5391944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1"/>
            </a:solidFill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4528714"/>
              </p:ext>
            </p:extLst>
          </p:nvPr>
        </p:nvGraphicFramePr>
        <p:xfrm>
          <a:off x="1263578" y="1427649"/>
          <a:ext cx="9664846" cy="38245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64846">
                  <a:extLst>
                    <a:ext uri="{9D8B030D-6E8A-4147-A177-3AD203B41FA5}">
                      <a16:colId xmlns:a16="http://schemas.microsoft.com/office/drawing/2014/main" val="1626667410"/>
                    </a:ext>
                  </a:extLst>
                </a:gridCol>
              </a:tblGrid>
              <a:tr h="53974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3200" u="none" strike="noStrike">
                          <a:effectLst/>
                        </a:rPr>
                        <a:t>Table of Contents</a:t>
                      </a:r>
                      <a:endParaRPr lang="en-US" sz="3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39" marR="7539" marT="7539" marB="0" anchor="ctr"/>
                </a:tc>
                <a:extLst>
                  <a:ext uri="{0D108BD9-81ED-4DB2-BD59-A6C34878D82A}">
                    <a16:rowId xmlns:a16="http://schemas.microsoft.com/office/drawing/2014/main" val="560315802"/>
                  </a:ext>
                </a:extLst>
              </a:tr>
              <a:tr h="469721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</a:pPr>
                      <a:r>
                        <a:rPr lang="en-US" sz="240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troduction - Brief Overview of Project</a:t>
                      </a:r>
                    </a:p>
                  </a:txBody>
                  <a:tcPr marL="7539" marR="7539" marT="7539" marB="0" anchor="ctr"/>
                </a:tc>
                <a:extLst>
                  <a:ext uri="{0D108BD9-81ED-4DB2-BD59-A6C34878D82A}">
                    <a16:rowId xmlns:a16="http://schemas.microsoft.com/office/drawing/2014/main" val="2812466689"/>
                  </a:ext>
                </a:extLst>
              </a:tr>
              <a:tr h="469721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</a:pPr>
                      <a:r>
                        <a:rPr lang="en-US" sz="240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2400" b="0" u="none" strike="noStrike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</a:t>
                      </a:r>
                      <a:r>
                        <a:rPr lang="fr-FR" sz="240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Data Scope for PNIN</a:t>
                      </a:r>
                      <a:endParaRPr lang="en-US" sz="240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39" marR="7539" marT="7539" marB="0" anchor="ctr"/>
                </a:tc>
                <a:extLst>
                  <a:ext uri="{0D108BD9-81ED-4DB2-BD59-A6C34878D82A}">
                    <a16:rowId xmlns:a16="http://schemas.microsoft.com/office/drawing/2014/main" val="3281962148"/>
                  </a:ext>
                </a:extLst>
              </a:tr>
              <a:tr h="469721"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</a:pPr>
                      <a:r>
                        <a:rPr lang="en-US" sz="240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cenario Descriptions for PNIN</a:t>
                      </a:r>
                    </a:p>
                  </a:txBody>
                  <a:tcPr marL="7539" marR="7539" marT="7539" marB="0" anchor="ctr"/>
                </a:tc>
                <a:extLst>
                  <a:ext uri="{0D108BD9-81ED-4DB2-BD59-A6C34878D82A}">
                    <a16:rowId xmlns:a16="http://schemas.microsoft.com/office/drawing/2014/main" val="1898551656"/>
                  </a:ext>
                </a:extLst>
              </a:tr>
              <a:tr h="469721">
                <a:tc>
                  <a:txBody>
                    <a:bodyPr/>
                    <a:lstStyle/>
                    <a:p>
                      <a:pPr marL="0" indent="119063" algn="l" defTabSz="914400" rtl="0" eaLnBrk="1" fontAlgn="ctr" latinLnBrk="0" hangingPunct="1"/>
                      <a:r>
                        <a:rPr lang="en-GB" sz="240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view of System Landscape</a:t>
                      </a:r>
                      <a:endParaRPr lang="en-US" sz="240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39" marR="7539" marT="7539" marB="0" anchor="ctr"/>
                </a:tc>
                <a:extLst>
                  <a:ext uri="{0D108BD9-81ED-4DB2-BD59-A6C34878D82A}">
                    <a16:rowId xmlns:a16="http://schemas.microsoft.com/office/drawing/2014/main" val="3095120611"/>
                  </a:ext>
                </a:extLst>
              </a:tr>
              <a:tr h="469721">
                <a:tc>
                  <a:txBody>
                    <a:bodyPr/>
                    <a:lstStyle/>
                    <a:p>
                      <a:pPr marL="0" marR="0" lvl="0" indent="1190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40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Overview – User Roles</a:t>
                      </a:r>
                      <a:endParaRPr lang="en-US" sz="240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39" marR="7539" marT="7539" marB="0" anchor="ctr"/>
                </a:tc>
                <a:extLst>
                  <a:ext uri="{0D108BD9-81ED-4DB2-BD59-A6C34878D82A}">
                    <a16:rowId xmlns:a16="http://schemas.microsoft.com/office/drawing/2014/main" val="2543677472"/>
                  </a:ext>
                </a:extLst>
              </a:tr>
              <a:tr h="469721">
                <a:tc>
                  <a:txBody>
                    <a:bodyPr/>
                    <a:lstStyle/>
                    <a:p>
                      <a:pPr marL="0" marR="0" lvl="0" indent="1190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nge Request (CR) Types </a:t>
                      </a:r>
                      <a:r>
                        <a:rPr lang="fr-FR" sz="240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NIN</a:t>
                      </a:r>
                      <a:endParaRPr lang="en-US" sz="2400" b="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39" marR="7539" marT="7539" marB="0" anchor="ctr"/>
                </a:tc>
                <a:extLst>
                  <a:ext uri="{0D108BD9-81ED-4DB2-BD59-A6C34878D82A}">
                    <a16:rowId xmlns:a16="http://schemas.microsoft.com/office/drawing/2014/main" val="1100874101"/>
                  </a:ext>
                </a:extLst>
              </a:tr>
              <a:tr h="466444">
                <a:tc>
                  <a:txBody>
                    <a:bodyPr/>
                    <a:lstStyle/>
                    <a:p>
                      <a:pPr marL="0" indent="119063" algn="l" defTabSz="914400" rtl="0" eaLnBrk="1" fontAlgn="ctr" latinLnBrk="0" hangingPunct="1"/>
                      <a:r>
                        <a:rPr lang="en-US" sz="2400" b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NIN Business Processes in MDG</a:t>
                      </a:r>
                    </a:p>
                  </a:txBody>
                  <a:tcPr marL="4262" marR="4262" marT="4262" marB="0" anchor="ctr"/>
                </a:tc>
                <a:extLst>
                  <a:ext uri="{0D108BD9-81ED-4DB2-BD59-A6C34878D82A}">
                    <a16:rowId xmlns:a16="http://schemas.microsoft.com/office/drawing/2014/main" val="19699714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33624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887015" y="260083"/>
            <a:ext cx="9956575" cy="566075"/>
          </a:xfrm>
        </p:spPr>
        <p:txBody>
          <a:bodyPr/>
          <a:lstStyle/>
          <a:p>
            <a:pPr fontAlgn="base">
              <a:defRPr/>
            </a:pPr>
            <a:r>
              <a:rPr lang="en-US" sz="3000" b="1" u="sng">
                <a:solidFill>
                  <a:srgbClr val="0000A0"/>
                </a:solidFill>
                <a:latin typeface="Mars Centra Extrabold"/>
              </a:rPr>
              <a:t>Change Request Status and Descrip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887015" y="1158756"/>
            <a:ext cx="10807144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rgbClr val="3C3C3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llowing table describes the Change Requests status that have been configured for different material types and different scenarios in MARS environment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9864124"/>
              </p:ext>
            </p:extLst>
          </p:nvPr>
        </p:nvGraphicFramePr>
        <p:xfrm>
          <a:off x="887015" y="2092007"/>
          <a:ext cx="10807144" cy="39370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9037">
                  <a:extLst>
                    <a:ext uri="{9D8B030D-6E8A-4147-A177-3AD203B41FA5}">
                      <a16:colId xmlns:a16="http://schemas.microsoft.com/office/drawing/2014/main" val="1490822969"/>
                    </a:ext>
                  </a:extLst>
                </a:gridCol>
                <a:gridCol w="3836329">
                  <a:extLst>
                    <a:ext uri="{9D8B030D-6E8A-4147-A177-3AD203B41FA5}">
                      <a16:colId xmlns:a16="http://schemas.microsoft.com/office/drawing/2014/main" val="2063224580"/>
                    </a:ext>
                  </a:extLst>
                </a:gridCol>
                <a:gridCol w="58217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1490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>
                          <a:solidFill>
                            <a:schemeClr val="bg1"/>
                          </a:solidFill>
                          <a:effectLst/>
                        </a:rPr>
                        <a:t>CR Status</a:t>
                      </a:r>
                      <a:endParaRPr lang="en-US" sz="1800" b="1" kern="120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6991" marR="6699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>
                          <a:solidFill>
                            <a:schemeClr val="bg1"/>
                          </a:solidFill>
                          <a:effectLst/>
                        </a:rPr>
                        <a:t>CR Status Description</a:t>
                      </a:r>
                      <a:endParaRPr lang="en-US" sz="1800" b="1" kern="120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6991" marR="6699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>
                          <a:solidFill>
                            <a:schemeClr val="bg1"/>
                          </a:solidFill>
                          <a:effectLst/>
                        </a:rPr>
                        <a:t>Meaning of</a:t>
                      </a:r>
                      <a:r>
                        <a:rPr lang="en-US" sz="1800" b="1" kern="1200" baseline="0">
                          <a:solidFill>
                            <a:schemeClr val="bg1"/>
                          </a:solidFill>
                          <a:effectLst/>
                        </a:rPr>
                        <a:t> Status</a:t>
                      </a:r>
                      <a:endParaRPr lang="en-US" sz="1800" b="1" kern="120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6991" marR="66991" marT="0" marB="0" anchor="ctr"/>
                </a:tc>
                <a:extLst>
                  <a:ext uri="{0D108BD9-81ED-4DB2-BD59-A6C34878D82A}">
                    <a16:rowId xmlns:a16="http://schemas.microsoft.com/office/drawing/2014/main" val="3205137124"/>
                  </a:ext>
                </a:extLst>
              </a:tr>
              <a:tr h="1045687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u="none" strike="noStrike" kern="1200" baseline="0">
                          <a:solidFill>
                            <a:srgbClr val="000000"/>
                          </a:solidFill>
                          <a:effectLst/>
                        </a:rPr>
                        <a:t>02</a:t>
                      </a:r>
                      <a:endParaRPr lang="en-US" sz="18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0" marR="1905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u="none" strike="noStrike" kern="1200" baseline="0">
                          <a:solidFill>
                            <a:srgbClr val="000000"/>
                          </a:solidFill>
                          <a:effectLst/>
                        </a:rPr>
                        <a:t>Changes to Be Executed</a:t>
                      </a:r>
                      <a:endParaRPr lang="en-US" sz="18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0" marR="1905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u="none" strike="noStrike" kern="1200" baseline="0">
                          <a:solidFill>
                            <a:srgbClr val="000000"/>
                          </a:solidFill>
                          <a:effectLst/>
                        </a:rPr>
                        <a:t>Changes made to the material as part of the change request are approved and will be updated in MDG</a:t>
                      </a:r>
                      <a:endParaRPr lang="en-US" sz="18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0" marR="19050" marT="0" marB="0" anchor="ctr"/>
                </a:tc>
                <a:extLst>
                  <a:ext uri="{0D108BD9-81ED-4DB2-BD59-A6C34878D82A}">
                    <a16:rowId xmlns:a16="http://schemas.microsoft.com/office/drawing/2014/main" val="3530150857"/>
                  </a:ext>
                </a:extLst>
              </a:tr>
              <a:tr h="1045687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u="none" strike="noStrike" kern="1200" baseline="0">
                          <a:solidFill>
                            <a:srgbClr val="000000"/>
                          </a:solidFill>
                          <a:effectLst/>
                        </a:rPr>
                        <a:t>05</a:t>
                      </a:r>
                      <a:endParaRPr lang="en-US" sz="18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0" marR="1905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u="none" strike="noStrike" kern="1200" baseline="0">
                          <a:solidFill>
                            <a:srgbClr val="000000"/>
                          </a:solidFill>
                          <a:effectLst/>
                        </a:rPr>
                        <a:t>Final Check Approved</a:t>
                      </a:r>
                      <a:endParaRPr lang="en-US" sz="18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0" marR="1905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u="none" strike="noStrike" kern="1200" baseline="0">
                          <a:solidFill>
                            <a:srgbClr val="000000"/>
                          </a:solidFill>
                          <a:effectLst/>
                        </a:rPr>
                        <a:t>Changes made to the material as part of the change request are updated in MDG</a:t>
                      </a:r>
                      <a:endParaRPr lang="en-US" sz="18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0" marR="19050" marT="0" marB="0" anchor="ctr"/>
                </a:tc>
                <a:extLst>
                  <a:ext uri="{0D108BD9-81ED-4DB2-BD59-A6C34878D82A}">
                    <a16:rowId xmlns:a16="http://schemas.microsoft.com/office/drawing/2014/main" val="3573784551"/>
                  </a:ext>
                </a:extLst>
              </a:tr>
              <a:tr h="930790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u="none" strike="noStrike" kern="1200" baseline="0">
                          <a:solidFill>
                            <a:srgbClr val="000000"/>
                          </a:solidFill>
                          <a:effectLst/>
                        </a:rPr>
                        <a:t>11</a:t>
                      </a:r>
                      <a:endParaRPr lang="en-US" sz="18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0" marR="19050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u="none" strike="noStrike" kern="1200" baseline="0">
                          <a:solidFill>
                            <a:srgbClr val="000000"/>
                          </a:solidFill>
                          <a:effectLst/>
                        </a:rPr>
                        <a:t>Process Errors After Activation</a:t>
                      </a:r>
                      <a:endParaRPr lang="en-US" sz="18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0" marR="1905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u="none" strike="noStrike" kern="1200" baseline="0">
                          <a:solidFill>
                            <a:srgbClr val="000000"/>
                          </a:solidFill>
                          <a:effectLst/>
                        </a:rPr>
                        <a:t>Error during Data replication to downstream systems</a:t>
                      </a:r>
                      <a:endParaRPr lang="en-US" sz="18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0" marR="19050" marT="0" marB="0" anchor="ctr"/>
                </a:tc>
                <a:extLst>
                  <a:ext uri="{0D108BD9-81ED-4DB2-BD59-A6C34878D82A}">
                    <a16:rowId xmlns:a16="http://schemas.microsoft.com/office/drawing/2014/main" val="288851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79737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BC0E0A6-17E8-3834-13F3-730F0952A31A}"/>
              </a:ext>
            </a:extLst>
          </p:cNvPr>
          <p:cNvSpPr txBox="1"/>
          <p:nvPr/>
        </p:nvSpPr>
        <p:spPr>
          <a:xfrm>
            <a:off x="2661552" y="175888"/>
            <a:ext cx="47679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TEST IDs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4E0E544-D332-9CE6-53F3-18FE63056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4091261"/>
              </p:ext>
            </p:extLst>
          </p:nvPr>
        </p:nvGraphicFramePr>
        <p:xfrm>
          <a:off x="597154" y="920658"/>
          <a:ext cx="5998029" cy="4239337"/>
        </p:xfrm>
        <a:graphic>
          <a:graphicData uri="http://schemas.openxmlformats.org/drawingml/2006/table">
            <a:tbl>
              <a:tblPr bandRow="1">
                <a:tableStyleId>{BC89EF96-8CEA-46FF-86C4-4CE0E7609802}</a:tableStyleId>
              </a:tblPr>
              <a:tblGrid>
                <a:gridCol w="1999343">
                  <a:extLst>
                    <a:ext uri="{9D8B030D-6E8A-4147-A177-3AD203B41FA5}">
                      <a16:colId xmlns:a16="http://schemas.microsoft.com/office/drawing/2014/main" val="2927911455"/>
                    </a:ext>
                  </a:extLst>
                </a:gridCol>
                <a:gridCol w="1999343">
                  <a:extLst>
                    <a:ext uri="{9D8B030D-6E8A-4147-A177-3AD203B41FA5}">
                      <a16:colId xmlns:a16="http://schemas.microsoft.com/office/drawing/2014/main" val="523868401"/>
                    </a:ext>
                  </a:extLst>
                </a:gridCol>
                <a:gridCol w="1999343">
                  <a:extLst>
                    <a:ext uri="{9D8B030D-6E8A-4147-A177-3AD203B41FA5}">
                      <a16:colId xmlns:a16="http://schemas.microsoft.com/office/drawing/2014/main" val="661221202"/>
                    </a:ext>
                  </a:extLst>
                </a:gridCol>
              </a:tblGrid>
              <a:tr h="759095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2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2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6006786"/>
                  </a:ext>
                </a:extLst>
              </a:tr>
              <a:tr h="61744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u="none" strike="noStrike">
                          <a:effectLst/>
                        </a:rPr>
                        <a:t>TEST IDs - MD</a:t>
                      </a:r>
                      <a:endParaRPr lang="en-IN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u="none" strike="noStrike">
                          <a:effectLst/>
                        </a:rPr>
                        <a:t>TEST IDs - SP</a:t>
                      </a:r>
                      <a:endParaRPr lang="en-IN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b="1" u="none" strike="noStrike">
                          <a:effectLst/>
                        </a:rPr>
                        <a:t>TEST IDs – SF</a:t>
                      </a:r>
                      <a:endParaRPr lang="en-IN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9372268"/>
                  </a:ext>
                </a:extLst>
              </a:tr>
              <a:tr h="57256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MDPNIN01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SPPNIN01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FINPNIN01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879739"/>
                  </a:ext>
                </a:extLst>
              </a:tr>
              <a:tr h="57256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MDPNIN02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SPPNIN02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FINPNIN02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1355449"/>
                  </a:ext>
                </a:extLst>
              </a:tr>
              <a:tr h="57256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MDPNIN03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SPPNIN03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FINPNIN03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6961434"/>
                  </a:ext>
                </a:extLst>
              </a:tr>
              <a:tr h="57256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MDPNIN04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SPPNIN04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FINPNIN04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1994830"/>
                  </a:ext>
                </a:extLst>
              </a:tr>
              <a:tr h="57256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MDPNIN05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SPPNIN05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0" u="none" strike="noStrike">
                          <a:effectLst/>
                        </a:rPr>
                        <a:t>T_FINPNIN05</a:t>
                      </a:r>
                      <a:endParaRPr lang="en-IN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0848630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6D2049A-2D9E-87A6-E14C-4485E056D618}"/>
              </a:ext>
            </a:extLst>
          </p:cNvPr>
          <p:cNvSpPr txBox="1"/>
          <p:nvPr/>
        </p:nvSpPr>
        <p:spPr>
          <a:xfrm>
            <a:off x="1691169" y="5643154"/>
            <a:ext cx="50400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Password: </a:t>
            </a:r>
            <a:r>
              <a:rPr lang="en-IN" sz="2800" i="1"/>
              <a:t>Mars@12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137941-C818-65C6-382A-66BC98F187E4}"/>
              </a:ext>
            </a:extLst>
          </p:cNvPr>
          <p:cNvSpPr txBox="1"/>
          <p:nvPr/>
        </p:nvSpPr>
        <p:spPr>
          <a:xfrm>
            <a:off x="8374997" y="175888"/>
            <a:ext cx="47679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USER GROUP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3E74A33-7159-477F-9F2A-3C2C61AE2F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5132664"/>
              </p:ext>
            </p:extLst>
          </p:nvPr>
        </p:nvGraphicFramePr>
        <p:xfrm>
          <a:off x="7835642" y="920659"/>
          <a:ext cx="3435738" cy="42393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5738">
                  <a:extLst>
                    <a:ext uri="{9D8B030D-6E8A-4147-A177-3AD203B41FA5}">
                      <a16:colId xmlns:a16="http://schemas.microsoft.com/office/drawing/2014/main" val="2295845245"/>
                    </a:ext>
                  </a:extLst>
                </a:gridCol>
              </a:tblGrid>
              <a:tr h="1059834">
                <a:tc>
                  <a:txBody>
                    <a:bodyPr/>
                    <a:lstStyle/>
                    <a:p>
                      <a:pPr algn="ctr"/>
                      <a:r>
                        <a:rPr lang="en-US" sz="2800" b="1">
                          <a:solidFill>
                            <a:schemeClr val="tx1"/>
                          </a:solidFill>
                        </a:rPr>
                        <a:t>PNIN</a:t>
                      </a:r>
                      <a:endParaRPr lang="en-IN" sz="2800" b="1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501222"/>
                  </a:ext>
                </a:extLst>
              </a:tr>
              <a:tr h="1059834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ster Data Team (MD/LDA)</a:t>
                      </a:r>
                      <a:endParaRPr lang="en-IN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5666558"/>
                  </a:ext>
                </a:extLst>
              </a:tr>
              <a:tr h="1059834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Supply Group (SP)</a:t>
                      </a:r>
                      <a:endParaRPr lang="en-IN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3360277"/>
                  </a:ext>
                </a:extLst>
              </a:tr>
              <a:tr h="1059834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Finance Team (SF)</a:t>
                      </a:r>
                      <a:endParaRPr lang="en-IN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845295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21085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943CAA20-3569-4189-9E48-239A229A86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433D4D-23AD-478F-9244-865E59288AAE}"/>
              </a:ext>
            </a:extLst>
          </p:cNvPr>
          <p:cNvSpPr txBox="1"/>
          <p:nvPr/>
        </p:nvSpPr>
        <p:spPr>
          <a:xfrm>
            <a:off x="838200" y="451381"/>
            <a:ext cx="10512552" cy="40665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indent="119063" font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600" b="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Business Processes in MDG</a:t>
            </a:r>
            <a:endParaRPr lang="en-US" sz="6600" b="1" u="none" strike="noStrike" kern="1200">
              <a:solidFill>
                <a:schemeClr val="tx1"/>
              </a:solidFill>
              <a:effectLst/>
              <a:latin typeface="+mj-lt"/>
              <a:ea typeface="+mj-ea"/>
              <a:cs typeface="+mj-cs"/>
            </a:endParaRPr>
          </a:p>
        </p:txBody>
      </p:sp>
      <p:sp>
        <p:nvSpPr>
          <p:cNvPr id="17" name="sketch line">
            <a:extLst>
              <a:ext uri="{FF2B5EF4-FFF2-40B4-BE49-F238E27FC236}">
                <a16:creationId xmlns:a16="http://schemas.microsoft.com/office/drawing/2014/main" id="{DA542B6D-E775-4832-91DC-2D20F8578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8200" y="4718595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5455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2009DE-09BA-4A1D-871E-0908DB9FA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921" y="378738"/>
            <a:ext cx="10515600" cy="948166"/>
          </a:xfrm>
        </p:spPr>
        <p:txBody>
          <a:bodyPr>
            <a:normAutofit fontScale="90000"/>
          </a:bodyPr>
          <a:lstStyle/>
          <a:p>
            <a:r>
              <a:rPr lang="en-US" sz="3000" b="1" u="sng">
                <a:solidFill>
                  <a:srgbClr val="0000A0"/>
                </a:solidFill>
                <a:latin typeface="Mars Centra Extrabold"/>
              </a:rPr>
              <a:t>PNIN Business Processes in MDG</a:t>
            </a:r>
            <a:br>
              <a:rPr lang="en-US" sz="4400" b="1" u="none" strike="noStrike" kern="120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</a:b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954E98-CB5B-4D0A-ADD9-B911FF7DAE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921" y="1175945"/>
            <a:ext cx="10515600" cy="498964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>
                <a:solidFill>
                  <a:srgbClr val="FF0000"/>
                </a:solidFill>
              </a:rPr>
              <a:t>Material creation and General Data change</a:t>
            </a:r>
          </a:p>
          <a:p>
            <a:r>
              <a:rPr lang="en-US" sz="2400"/>
              <a:t>General Data enrichment</a:t>
            </a:r>
          </a:p>
          <a:p>
            <a:r>
              <a:rPr lang="en-US" sz="2400"/>
              <a:t>Single/Multi-Plant &amp; Sales Extension of materials</a:t>
            </a:r>
          </a:p>
          <a:p>
            <a:r>
              <a:rPr lang="en-US" sz="2400"/>
              <a:t>Field maintenance</a:t>
            </a:r>
          </a:p>
          <a:p>
            <a:r>
              <a:rPr lang="en-US" sz="2400"/>
              <a:t>Status Update</a:t>
            </a:r>
          </a:p>
          <a:p>
            <a:r>
              <a:rPr lang="en-US" sz="2400"/>
              <a:t>Fiori Mass Processing</a:t>
            </a:r>
          </a:p>
          <a:p>
            <a:pPr lvl="1"/>
            <a:r>
              <a:rPr lang="en-US" sz="2000">
                <a:cs typeface="Calibri"/>
              </a:rPr>
              <a:t>Direct Mass Processing</a:t>
            </a:r>
          </a:p>
          <a:p>
            <a:pPr lvl="1"/>
            <a:r>
              <a:rPr lang="en-US" sz="2000">
                <a:cs typeface="Calibri"/>
              </a:rPr>
              <a:t>Mass Processing Using File Export &amp; Import</a:t>
            </a:r>
          </a:p>
          <a:p>
            <a:r>
              <a:rPr lang="en-US" sz="2400">
                <a:cs typeface="Calibri"/>
              </a:rPr>
              <a:t>Mass Change (NWBC)</a:t>
            </a:r>
          </a:p>
          <a:p>
            <a:pPr lvl="1"/>
            <a:r>
              <a:rPr lang="en-US" sz="2000">
                <a:cs typeface="Calibri"/>
              </a:rPr>
              <a:t>Storage Location Addition   -	Variant: SLOC ADD (Only FEs have access)</a:t>
            </a:r>
          </a:p>
        </p:txBody>
      </p:sp>
    </p:spTree>
    <p:extLst>
      <p:ext uri="{BB962C8B-B14F-4D97-AF65-F5344CB8AC3E}">
        <p14:creationId xmlns:p14="http://schemas.microsoft.com/office/powerpoint/2010/main" val="30720008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AF28B-8DA9-468B-8F64-B4E014251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412" y="231561"/>
            <a:ext cx="9949665" cy="960241"/>
          </a:xfrm>
        </p:spPr>
        <p:txBody>
          <a:bodyPr/>
          <a:lstStyle/>
          <a:p>
            <a:pPr fontAlgn="base">
              <a:defRPr/>
            </a:pPr>
            <a:r>
              <a:rPr lang="en-US" sz="3000" b="1" u="sng">
                <a:solidFill>
                  <a:srgbClr val="0000A0"/>
                </a:solidFill>
                <a:latin typeface="Mars Centra Extrabold"/>
              </a:rPr>
              <a:t>Interface between MDG and ATLAS &amp; GR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ED0588-F313-4564-864A-6DFCE4C83B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153" y="1424933"/>
            <a:ext cx="10515600" cy="4351338"/>
          </a:xfrm>
        </p:spPr>
        <p:txBody>
          <a:bodyPr>
            <a:normAutofit/>
          </a:bodyPr>
          <a:lstStyle/>
          <a:p>
            <a:pPr algn="just"/>
            <a:r>
              <a:rPr lang="en-US">
                <a:latin typeface="Mars Centra"/>
              </a:rPr>
              <a:t>Replication model has been created: </a:t>
            </a:r>
            <a:r>
              <a:rPr lang="en-US" b="1">
                <a:latin typeface="Mars Centra"/>
              </a:rPr>
              <a:t>ZMSLPLNTAP</a:t>
            </a:r>
          </a:p>
          <a:p>
            <a:pPr algn="just"/>
            <a:endParaRPr lang="en-US">
              <a:latin typeface="Mars Centra"/>
            </a:endParaRPr>
          </a:p>
          <a:p>
            <a:pPr algn="just"/>
            <a:r>
              <a:rPr lang="en-US">
                <a:latin typeface="Mars Centra"/>
              </a:rPr>
              <a:t>For plant &amp; sales data:</a:t>
            </a:r>
          </a:p>
          <a:p>
            <a:pPr lvl="1" algn="just"/>
            <a:r>
              <a:rPr lang="en-US">
                <a:latin typeface="Mars Centra"/>
              </a:rPr>
              <a:t>Quality environment: M1Q-&gt;APB (</a:t>
            </a:r>
            <a:r>
              <a:rPr lang="en-US" b="1">
                <a:latin typeface="Mars Centra"/>
              </a:rPr>
              <a:t>ATLAS Quality system</a:t>
            </a:r>
            <a:r>
              <a:rPr lang="en-US">
                <a:latin typeface="Mars Centra"/>
              </a:rPr>
              <a:t>)</a:t>
            </a:r>
          </a:p>
          <a:p>
            <a:pPr lvl="1" algn="just"/>
            <a:r>
              <a:rPr lang="en-US">
                <a:latin typeface="Mars Centra"/>
              </a:rPr>
              <a:t>Production environment: M1P-&gt;APP (</a:t>
            </a:r>
            <a:r>
              <a:rPr lang="en-US" b="1">
                <a:latin typeface="Mars Centra"/>
              </a:rPr>
              <a:t>ATLAS Production system</a:t>
            </a:r>
            <a:r>
              <a:rPr lang="en-US">
                <a:latin typeface="Mars Centra"/>
              </a:rPr>
              <a:t>)</a:t>
            </a:r>
          </a:p>
          <a:p>
            <a:pPr lvl="1" algn="just"/>
            <a:endParaRPr lang="en-US">
              <a:latin typeface="Mars Centra"/>
            </a:endParaRPr>
          </a:p>
          <a:p>
            <a:pPr algn="just"/>
            <a:r>
              <a:rPr lang="en-US">
                <a:latin typeface="Mars Centra"/>
              </a:rPr>
              <a:t>For general data, existing interface between MDG and GRD is used:</a:t>
            </a:r>
          </a:p>
          <a:p>
            <a:pPr lvl="1" algn="just"/>
            <a:r>
              <a:rPr lang="en-US">
                <a:latin typeface="Mars Centra"/>
              </a:rPr>
              <a:t>Quality environment: M1Q-&gt;AMB</a:t>
            </a:r>
          </a:p>
          <a:p>
            <a:pPr lvl="1" algn="just"/>
            <a:r>
              <a:rPr lang="en-US">
                <a:latin typeface="Mars Centra"/>
              </a:rPr>
              <a:t>Production environment: M1P-&gt;AMP</a:t>
            </a:r>
          </a:p>
          <a:p>
            <a:pPr algn="just"/>
            <a:endParaRPr lang="en-US">
              <a:latin typeface="Mars Centra"/>
            </a:endParaRP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5072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72090" y="1069848"/>
          <a:ext cx="11253770" cy="4294045"/>
        </p:xfrm>
        <a:graphic>
          <a:graphicData uri="http://schemas.openxmlformats.org/drawingml/2006/table">
            <a:tbl>
              <a:tblPr/>
              <a:tblGrid>
                <a:gridCol w="1791762">
                  <a:extLst>
                    <a:ext uri="{9D8B030D-6E8A-4147-A177-3AD203B41FA5}">
                      <a16:colId xmlns:a16="http://schemas.microsoft.com/office/drawing/2014/main" val="397802586"/>
                    </a:ext>
                  </a:extLst>
                </a:gridCol>
                <a:gridCol w="1714676">
                  <a:extLst>
                    <a:ext uri="{9D8B030D-6E8A-4147-A177-3AD203B41FA5}">
                      <a16:colId xmlns:a16="http://schemas.microsoft.com/office/drawing/2014/main" val="2521283397"/>
                    </a:ext>
                  </a:extLst>
                </a:gridCol>
                <a:gridCol w="1776910">
                  <a:extLst>
                    <a:ext uri="{9D8B030D-6E8A-4147-A177-3AD203B41FA5}">
                      <a16:colId xmlns:a16="http://schemas.microsoft.com/office/drawing/2014/main" val="1468329027"/>
                    </a:ext>
                  </a:extLst>
                </a:gridCol>
                <a:gridCol w="1753218">
                  <a:extLst>
                    <a:ext uri="{9D8B030D-6E8A-4147-A177-3AD203B41FA5}">
                      <a16:colId xmlns:a16="http://schemas.microsoft.com/office/drawing/2014/main" val="1472378225"/>
                    </a:ext>
                  </a:extLst>
                </a:gridCol>
                <a:gridCol w="1892198">
                  <a:extLst>
                    <a:ext uri="{9D8B030D-6E8A-4147-A177-3AD203B41FA5}">
                      <a16:colId xmlns:a16="http://schemas.microsoft.com/office/drawing/2014/main" val="2582770114"/>
                    </a:ext>
                  </a:extLst>
                </a:gridCol>
                <a:gridCol w="2325006">
                  <a:extLst>
                    <a:ext uri="{9D8B030D-6E8A-4147-A177-3AD203B41FA5}">
                      <a16:colId xmlns:a16="http://schemas.microsoft.com/office/drawing/2014/main" val="2567643806"/>
                    </a:ext>
                  </a:extLst>
                </a:gridCol>
              </a:tblGrid>
              <a:tr h="9442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urce-&gt;Destinat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rect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ssage Type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Extension 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ort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ner Profile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4885086"/>
                  </a:ext>
                </a:extLst>
              </a:tr>
              <a:tr h="58793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DG -&gt; GR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DG Outboun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XML Messag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/A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FC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/A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1477395"/>
                  </a:ext>
                </a:extLst>
              </a:tr>
              <a:tr h="41096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D Inboun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TMAS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2MATMAS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LESOFT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LESOFT_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9831414"/>
                  </a:ext>
                </a:extLst>
              </a:tr>
              <a:tr h="4623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FMAS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CLFMAS01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LESOFT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LESOFT_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5115045"/>
                  </a:ext>
                </a:extLst>
              </a:tr>
              <a:tr h="94426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DG-&gt;ATLA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DG Outboun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TMA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1MDGM_MATMAS0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S_APP_00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3770043"/>
                  </a:ext>
                </a:extLst>
              </a:tr>
              <a:tr h="944268">
                <a:tc vMerge="1"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TLAS Inboun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TMA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1MDGM_MATMAS0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PM1P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6380041"/>
                  </a:ext>
                </a:extLst>
              </a:tr>
            </a:tbl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4048" y="274320"/>
            <a:ext cx="11253770" cy="795528"/>
          </a:xfrm>
        </p:spPr>
        <p:txBody>
          <a:bodyPr>
            <a:normAutofit/>
          </a:bodyPr>
          <a:lstStyle/>
          <a:p>
            <a:pPr fontAlgn="base">
              <a:defRPr/>
            </a:pPr>
            <a:r>
              <a:rPr lang="en-US" sz="3000" b="1" u="sng">
                <a:latin typeface="Mars Centra Extrabold"/>
              </a:rPr>
              <a:t>Interface Message Types- MDG to GRD &amp; ATLAS</a:t>
            </a:r>
          </a:p>
        </p:txBody>
      </p:sp>
    </p:spTree>
    <p:extLst>
      <p:ext uri="{BB962C8B-B14F-4D97-AF65-F5344CB8AC3E}">
        <p14:creationId xmlns:p14="http://schemas.microsoft.com/office/powerpoint/2010/main" val="24366496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2701729"/>
              </p:ext>
            </p:extLst>
          </p:nvPr>
        </p:nvGraphicFramePr>
        <p:xfrm>
          <a:off x="326436" y="1076965"/>
          <a:ext cx="11196782" cy="4704069"/>
        </p:xfrm>
        <a:graphic>
          <a:graphicData uri="http://schemas.openxmlformats.org/drawingml/2006/table">
            <a:tbl>
              <a:tblPr/>
              <a:tblGrid>
                <a:gridCol w="1745285">
                  <a:extLst>
                    <a:ext uri="{9D8B030D-6E8A-4147-A177-3AD203B41FA5}">
                      <a16:colId xmlns:a16="http://schemas.microsoft.com/office/drawing/2014/main" val="632504418"/>
                    </a:ext>
                  </a:extLst>
                </a:gridCol>
                <a:gridCol w="1464581">
                  <a:extLst>
                    <a:ext uri="{9D8B030D-6E8A-4147-A177-3AD203B41FA5}">
                      <a16:colId xmlns:a16="http://schemas.microsoft.com/office/drawing/2014/main" val="3908610357"/>
                    </a:ext>
                  </a:extLst>
                </a:gridCol>
                <a:gridCol w="1338188">
                  <a:extLst>
                    <a:ext uri="{9D8B030D-6E8A-4147-A177-3AD203B41FA5}">
                      <a16:colId xmlns:a16="http://schemas.microsoft.com/office/drawing/2014/main" val="4047463747"/>
                    </a:ext>
                  </a:extLst>
                </a:gridCol>
                <a:gridCol w="1509220">
                  <a:extLst>
                    <a:ext uri="{9D8B030D-6E8A-4147-A177-3AD203B41FA5}">
                      <a16:colId xmlns:a16="http://schemas.microsoft.com/office/drawing/2014/main" val="79918333"/>
                    </a:ext>
                  </a:extLst>
                </a:gridCol>
                <a:gridCol w="1345147">
                  <a:extLst>
                    <a:ext uri="{9D8B030D-6E8A-4147-A177-3AD203B41FA5}">
                      <a16:colId xmlns:a16="http://schemas.microsoft.com/office/drawing/2014/main" val="2749853617"/>
                    </a:ext>
                  </a:extLst>
                </a:gridCol>
                <a:gridCol w="1979217">
                  <a:extLst>
                    <a:ext uri="{9D8B030D-6E8A-4147-A177-3AD203B41FA5}">
                      <a16:colId xmlns:a16="http://schemas.microsoft.com/office/drawing/2014/main" val="4226371892"/>
                    </a:ext>
                  </a:extLst>
                </a:gridCol>
                <a:gridCol w="1815144">
                  <a:extLst>
                    <a:ext uri="{9D8B030D-6E8A-4147-A177-3AD203B41FA5}">
                      <a16:colId xmlns:a16="http://schemas.microsoft.com/office/drawing/2014/main" val="3055202551"/>
                    </a:ext>
                  </a:extLst>
                </a:gridCol>
              </a:tblGrid>
              <a:tr h="104945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rce-&gt;</a:t>
                      </a: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tination</a:t>
                      </a:r>
                      <a:endParaRPr lang="en-US" sz="16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ctio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essage Type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asic</a:t>
                      </a:r>
                      <a:r>
                        <a:rPr lang="en-US" sz="16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ype</a:t>
                      </a:r>
                      <a:endParaRPr lang="en-US" sz="16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Extension 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rt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rtner Profile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552097"/>
                  </a:ext>
                </a:extLst>
              </a:tr>
              <a:tr h="48330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D-&gt; MD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D Outboun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ATMASR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MAS0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2MATMAS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S_DS_E1P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S_DS_E1P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4895350"/>
                  </a:ext>
                </a:extLst>
              </a:tr>
              <a:tr h="4964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FMAS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FMAS0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CLFMAS01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S_DS_E1P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S_DS_E1P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3638134"/>
                  </a:ext>
                </a:extLst>
              </a:tr>
              <a:tr h="6430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DG Inboun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MAS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MAS0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2MATMAS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FC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1PCLNT00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4089257"/>
                  </a:ext>
                </a:extLst>
              </a:tr>
              <a:tr h="4398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FMAS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FMAS0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CLFMAS01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FC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1PCLNT00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3299521"/>
                  </a:ext>
                </a:extLst>
              </a:tr>
              <a:tr h="104945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LAS-&gt;MD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LAS Outboun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AU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AUD0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00000004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4360455"/>
                  </a:ext>
                </a:extLst>
              </a:tr>
              <a:tr h="542510">
                <a:tc vMerge="1"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DG Inboun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AU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AUD0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APP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4811736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26436" y="342142"/>
            <a:ext cx="100460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3000" b="1" u="sng">
                <a:latin typeface="Mars Centra Extrabold"/>
                <a:ea typeface="+mj-ea"/>
                <a:cs typeface="+mj-cs"/>
              </a:rPr>
              <a:t>Interface Message Types – GRD to MDG, ATLAS to MDG</a:t>
            </a:r>
          </a:p>
        </p:txBody>
      </p:sp>
    </p:spTree>
    <p:extLst>
      <p:ext uri="{BB962C8B-B14F-4D97-AF65-F5344CB8AC3E}">
        <p14:creationId xmlns:p14="http://schemas.microsoft.com/office/powerpoint/2010/main" val="27573194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3862214-6564-110D-48DF-7E7855EBC698}"/>
              </a:ext>
            </a:extLst>
          </p:cNvPr>
          <p:cNvSpPr/>
          <p:nvPr/>
        </p:nvSpPr>
        <p:spPr>
          <a:xfrm>
            <a:off x="326436" y="342142"/>
            <a:ext cx="100460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3000" b="1" u="sng">
                <a:solidFill>
                  <a:schemeClr val="accent1">
                    <a:lumMod val="75000"/>
                  </a:schemeClr>
                </a:solidFill>
                <a:latin typeface="Mars Centra Extrabold"/>
                <a:ea typeface="+mj-ea"/>
                <a:cs typeface="+mj-cs"/>
              </a:rPr>
              <a:t>MDG RTs: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42B17AB-19D1-51EF-986B-7DA8567A23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5674519"/>
              </p:ext>
            </p:extLst>
          </p:nvPr>
        </p:nvGraphicFramePr>
        <p:xfrm>
          <a:off x="2251694" y="1024144"/>
          <a:ext cx="8120742" cy="5011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2628">
                  <a:extLst>
                    <a:ext uri="{9D8B030D-6E8A-4147-A177-3AD203B41FA5}">
                      <a16:colId xmlns:a16="http://schemas.microsoft.com/office/drawing/2014/main" val="394995743"/>
                    </a:ext>
                  </a:extLst>
                </a:gridCol>
                <a:gridCol w="4688114">
                  <a:extLst>
                    <a:ext uri="{9D8B030D-6E8A-4147-A177-3AD203B41FA5}">
                      <a16:colId xmlns:a16="http://schemas.microsoft.com/office/drawing/2014/main" val="502384906"/>
                    </a:ext>
                  </a:extLst>
                </a:gridCol>
              </a:tblGrid>
              <a:tr h="437142">
                <a:tc>
                  <a:txBody>
                    <a:bodyPr/>
                    <a:lstStyle/>
                    <a:p>
                      <a:pPr algn="ctr"/>
                      <a:r>
                        <a:rPr lang="en-IN"/>
                        <a:t>RT 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7967185"/>
                  </a:ext>
                </a:extLst>
              </a:tr>
              <a:tr h="437142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13458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>
                          <a:effectLst/>
                        </a:rPr>
                        <a:t>MDGM: </a:t>
                      </a:r>
                      <a:r>
                        <a:rPr lang="fr-FR" err="1">
                          <a:effectLst/>
                        </a:rPr>
                        <a:t>India</a:t>
                      </a:r>
                      <a:r>
                        <a:rPr lang="fr-FR">
                          <a:effectLst/>
                        </a:rPr>
                        <a:t> Pet Nutrition - Base Configur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8138419"/>
                  </a:ext>
                </a:extLst>
              </a:tr>
              <a:tr h="437142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1345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MDGM: India Pet Nutrition - Scenario ID Cre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43604179"/>
                  </a:ext>
                </a:extLst>
              </a:tr>
              <a:tr h="437142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13459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MDGM: India Pet Nutrition - ZPR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75915158"/>
                  </a:ext>
                </a:extLst>
              </a:tr>
              <a:tr h="437142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13459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MDGM: India Pet Nutrition - UNBW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7416546"/>
                  </a:ext>
                </a:extLst>
              </a:tr>
              <a:tr h="437142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13459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>
                          <a:effectLst/>
                        </a:rPr>
                        <a:t>MDGM: India Pet Nutrition - PIP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3189949"/>
                  </a:ext>
                </a:extLst>
              </a:tr>
              <a:tr h="437142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13459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MDGM: India Pet Nutrition - NLA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84639367"/>
                  </a:ext>
                </a:extLst>
              </a:tr>
              <a:tr h="437142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1345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>
                          <a:effectLst/>
                        </a:rPr>
                        <a:t>MDGM: India Pet Nutrition - VER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45395133"/>
                  </a:ext>
                </a:extLst>
              </a:tr>
              <a:tr h="437142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13459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MDGM: India Pet Nutrition - RO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7599120"/>
                  </a:ext>
                </a:extLst>
              </a:tr>
              <a:tr h="437142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1346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MDGM: India Pet Nutrition - ZRE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7549470"/>
                  </a:ext>
                </a:extLst>
              </a:tr>
              <a:tr h="437142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1346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MDGM: India Pet Nutrition - FE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4272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11112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6" name="Rectangle 35">
            <a:extLst>
              <a:ext uri="{FF2B5EF4-FFF2-40B4-BE49-F238E27FC236}">
                <a16:creationId xmlns:a16="http://schemas.microsoft.com/office/drawing/2014/main" id="{68AF5748-FED8-45BA-8631-26D1D10F32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477981" y="1122363"/>
            <a:ext cx="4023360" cy="320413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4800" b="1" u="sng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ew Important Configuration </a:t>
            </a:r>
            <a:r>
              <a:rPr lang="en-US" sz="4800" b="1" u="sng">
                <a:latin typeface="+mj-lt"/>
                <a:ea typeface="+mj-ea"/>
                <a:cs typeface="+mj-cs"/>
              </a:rPr>
              <a:t>T</a:t>
            </a:r>
            <a:r>
              <a:rPr lang="en-US" sz="4800" b="1" u="sng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bl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402336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7902705"/>
              </p:ext>
            </p:extLst>
          </p:nvPr>
        </p:nvGraphicFramePr>
        <p:xfrm>
          <a:off x="4501342" y="559837"/>
          <a:ext cx="7572470" cy="6130209"/>
        </p:xfrm>
        <a:graphic>
          <a:graphicData uri="http://schemas.openxmlformats.org/drawingml/2006/table">
            <a:tbl>
              <a:tblPr firstRow="1" bandRow="1">
                <a:solidFill>
                  <a:schemeClr val="bg1"/>
                </a:solidFill>
              </a:tblPr>
              <a:tblGrid>
                <a:gridCol w="2234783">
                  <a:extLst>
                    <a:ext uri="{9D8B030D-6E8A-4147-A177-3AD203B41FA5}">
                      <a16:colId xmlns:a16="http://schemas.microsoft.com/office/drawing/2014/main" val="3156261915"/>
                    </a:ext>
                  </a:extLst>
                </a:gridCol>
                <a:gridCol w="1675954">
                  <a:extLst>
                    <a:ext uri="{9D8B030D-6E8A-4147-A177-3AD203B41FA5}">
                      <a16:colId xmlns:a16="http://schemas.microsoft.com/office/drawing/2014/main" val="2023512202"/>
                    </a:ext>
                  </a:extLst>
                </a:gridCol>
                <a:gridCol w="3661733">
                  <a:extLst>
                    <a:ext uri="{9D8B030D-6E8A-4147-A177-3AD203B41FA5}">
                      <a16:colId xmlns:a16="http://schemas.microsoft.com/office/drawing/2014/main" val="2949521228"/>
                    </a:ext>
                  </a:extLst>
                </a:gridCol>
              </a:tblGrid>
              <a:tr h="51256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b="1" i="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abl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b="1" i="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able Name</a:t>
                      </a:r>
                    </a:p>
                  </a:txBody>
                  <a:tcPr marL="89734" marR="4793" marT="69025" marB="6902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800" b="1" i="0" u="none" strike="noStrike" kern="1200" cap="none" spc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marks</a:t>
                      </a:r>
                    </a:p>
                  </a:txBody>
                  <a:tcPr marL="89734" marR="4793" marT="69025" marB="6902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0943668"/>
                  </a:ext>
                </a:extLst>
              </a:tr>
              <a:tr h="10148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lassification Owner Tabl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MDGM_CLF_OWNER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cap="none" spc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Local class used: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cap="none" spc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ZZAPMATL</a:t>
                      </a:r>
                      <a:r>
                        <a:rPr lang="en-US" sz="1200" cap="none" spc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for ZPRM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ZAPMATL</a:t>
                      </a:r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for FERT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9810198"/>
                  </a:ext>
                </a:extLst>
              </a:tr>
              <a:tr h="5125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I Control Tabl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MDGM_UI_CONTROL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+mj-lt"/>
                        <a:buNone/>
                      </a:pPr>
                      <a:r>
                        <a:rPr lang="en-US" sz="1200" kern="1200" cap="none" spc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 control UI Field Properties 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9984806"/>
                  </a:ext>
                </a:extLst>
              </a:tr>
              <a:tr h="7637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mplex Derivation Tabl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MDGM_DERIV_ET 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+mj-lt"/>
                        <a:buNone/>
                      </a:pPr>
                      <a:r>
                        <a:rPr lang="en-US" sz="1200" kern="1200" cap="none" spc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 default UI fields which contains some specific If-else conditional logic. 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4945123"/>
                  </a:ext>
                </a:extLst>
              </a:tr>
              <a:tr h="7637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orage location and warehouse Derivation Tabl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MDGM_SLOC_WH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+mj-lt"/>
                        <a:buNone/>
                      </a:pPr>
                      <a:r>
                        <a:rPr lang="en-US" sz="1200" kern="1200" cap="none" spc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 default Storage location and warehouse Derivation tabl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0599111"/>
                  </a:ext>
                </a:extLst>
              </a:tr>
              <a:tr h="5125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rive Tabl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MDGM_DERIV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+mj-lt"/>
                        <a:buNone/>
                      </a:pPr>
                      <a:r>
                        <a:rPr lang="en-US" sz="1200" kern="1200" cap="none" spc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 set defaulting rules for Fields. 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4718897"/>
                  </a:ext>
                </a:extLst>
              </a:tr>
              <a:tr h="5125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gent Group Tabl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MDGM_AGENT_GRP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+mj-lt"/>
                        <a:buNone/>
                      </a:pPr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 Identify different agent groups used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439719"/>
                  </a:ext>
                </a:extLst>
              </a:tr>
              <a:tr h="5125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cenario ID Tabl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MDGM_SCENARIO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+mj-lt"/>
                        <a:buNone/>
                      </a:pPr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 create a scenario ID for a particular material typ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514485"/>
                  </a:ext>
                </a:extLst>
              </a:tr>
              <a:tr h="5125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ant and Sales Tabl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MDGM_PLT_SAL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+mj-lt"/>
                        <a:buNone/>
                      </a:pPr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 default plant, sales and distribution channels 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5920076"/>
                  </a:ext>
                </a:extLst>
              </a:tr>
              <a:tr h="5125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orkflow Agent Table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MDGM_WF_AGENT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+mj-lt"/>
                        <a:buNone/>
                      </a:pPr>
                      <a:r>
                        <a:rPr lang="en-US" sz="1200" b="0" i="0" u="none" strike="noStrike" cap="none" spc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 control workflow properties</a:t>
                      </a:r>
                    </a:p>
                  </a:txBody>
                  <a:tcPr marL="89734" marR="4793" marT="69025" marB="69025" anchor="ctr">
                    <a:lnL w="19050" cap="flat" cmpd="sng" algn="ctr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8881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18361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6">
            <a:extLst>
              <a:ext uri="{FF2B5EF4-FFF2-40B4-BE49-F238E27FC236}">
                <a16:creationId xmlns:a16="http://schemas.microsoft.com/office/drawing/2014/main" id="{CDA777BE-A3D6-479F-87A2-E581A9045A16}"/>
              </a:ext>
            </a:extLst>
          </p:cNvPr>
          <p:cNvSpPr txBox="1">
            <a:spLocks/>
          </p:cNvSpPr>
          <p:nvPr/>
        </p:nvSpPr>
        <p:spPr>
          <a:xfrm>
            <a:off x="264297" y="6079502"/>
            <a:ext cx="3633925" cy="52060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3000" b="1" kern="1200" spc="0" baseline="0">
                <a:solidFill>
                  <a:schemeClr val="tx2"/>
                </a:solidFill>
                <a:latin typeface="+mn-lt"/>
                <a:ea typeface="Mars Centra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0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tx2"/>
              </a:buClr>
              <a:buFont typeface="Mars Centra" pitchFamily="2" charset="0"/>
              <a:buNone/>
              <a:defRPr sz="16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800">
                <a:solidFill>
                  <a:srgbClr val="0000A0"/>
                </a:solidFill>
                <a:latin typeface="Mars Centra"/>
              </a:rPr>
              <a:t>January 2024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uLnTx/>
              <a:uFillTx/>
              <a:latin typeface="Mars Centra"/>
              <a:cs typeface="+mn-cs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5624499" y="1621735"/>
            <a:ext cx="5808702" cy="3614530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Appendix</a:t>
            </a:r>
          </a:p>
        </p:txBody>
      </p:sp>
      <p:sp>
        <p:nvSpPr>
          <p:cNvPr id="12" name="Slide Number"/>
          <p:cNvSpPr txBox="1"/>
          <p:nvPr/>
        </p:nvSpPr>
        <p:spPr>
          <a:xfrm>
            <a:off x="381000" y="6477000"/>
            <a:ext cx="226822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Arial" panose="020B0604020202020204" pitchFamily="34" charset="0"/>
              </a:rPr>
              <a:t>88</a:t>
            </a:r>
          </a:p>
        </p:txBody>
      </p:sp>
      <p:sp>
        <p:nvSpPr>
          <p:cNvPr id="3" name="Rectangle 2"/>
          <p:cNvSpPr/>
          <p:nvPr/>
        </p:nvSpPr>
        <p:spPr>
          <a:xfrm>
            <a:off x="1362456" y="146304"/>
            <a:ext cx="1627632" cy="603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862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lowchart: Document 24">
            <a:extLst>
              <a:ext uri="{FF2B5EF4-FFF2-40B4-BE49-F238E27FC236}">
                <a16:creationId xmlns:a16="http://schemas.microsoft.com/office/drawing/2014/main" id="{D12DDE76-C203-4047-9998-63900085B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8175" y="0"/>
            <a:ext cx="3248025" cy="3400426"/>
          </a:xfrm>
          <a:prstGeom prst="flowChartDocumen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2616D543-B1F8-2685-AA09-A6C0EB0A5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1162"/>
            <a:ext cx="2840182" cy="237114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b="1" u="sng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Key Dates: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DD47CAB-ED6B-66F5-D457-8586C51C0E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5250361"/>
              </p:ext>
            </p:extLst>
          </p:nvPr>
        </p:nvGraphicFramePr>
        <p:xfrm>
          <a:off x="4562669" y="2278418"/>
          <a:ext cx="7240555" cy="23021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152123">
                  <a:extLst>
                    <a:ext uri="{9D8B030D-6E8A-4147-A177-3AD203B41FA5}">
                      <a16:colId xmlns:a16="http://schemas.microsoft.com/office/drawing/2014/main" val="1144120499"/>
                    </a:ext>
                  </a:extLst>
                </a:gridCol>
                <a:gridCol w="3088432">
                  <a:extLst>
                    <a:ext uri="{9D8B030D-6E8A-4147-A177-3AD203B41FA5}">
                      <a16:colId xmlns:a16="http://schemas.microsoft.com/office/drawing/2014/main" val="1836244243"/>
                    </a:ext>
                  </a:extLst>
                </a:gridCol>
              </a:tblGrid>
              <a:tr h="599740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3300" u="none" strike="noStrike">
                          <a:effectLst/>
                        </a:rPr>
                        <a:t>Activity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382" marR="21382" marT="213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3300" u="none" strike="noStrike">
                          <a:effectLst/>
                        </a:rPr>
                        <a:t>Date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382" marR="21382" marT="21382" marB="0" anchor="ctr"/>
                </a:tc>
                <a:extLst>
                  <a:ext uri="{0D108BD9-81ED-4DB2-BD59-A6C34878D82A}">
                    <a16:rowId xmlns:a16="http://schemas.microsoft.com/office/drawing/2014/main" val="1032019768"/>
                  </a:ext>
                </a:extLst>
              </a:tr>
              <a:tr h="5997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-Live</a:t>
                      </a:r>
                      <a:endParaRPr lang="en-IN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382" marR="21382" marT="213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4</a:t>
                      </a:r>
                      <a:endParaRPr lang="en-IN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382" marR="21382" marT="21382" marB="0" anchor="ctr"/>
                </a:tc>
                <a:extLst>
                  <a:ext uri="{0D108BD9-81ED-4DB2-BD59-A6C34878D82A}">
                    <a16:rowId xmlns:a16="http://schemas.microsoft.com/office/drawing/2014/main" val="2966391863"/>
                  </a:ext>
                </a:extLst>
              </a:tr>
              <a:tr h="11026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care</a:t>
                      </a:r>
                      <a:endParaRPr lang="en-IN" sz="2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1382" marR="21382" marT="2138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4 – 03.05.2024</a:t>
                      </a:r>
                    </a:p>
                  </a:txBody>
                  <a:tcPr marL="21382" marR="21382" marT="21382" marB="0" anchor="ctr"/>
                </a:tc>
                <a:extLst>
                  <a:ext uri="{0D108BD9-81ED-4DB2-BD59-A6C34878D82A}">
                    <a16:rowId xmlns:a16="http://schemas.microsoft.com/office/drawing/2014/main" val="865632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85476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777A147A-9ED8-46B4-8660-1B3C2AA880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0F03F242-BAB9-008D-C953-FD15241214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548640"/>
            <a:ext cx="3600860" cy="5431536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b="1" u="sng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Reference Links:</a:t>
            </a:r>
          </a:p>
        </p:txBody>
      </p:sp>
      <p:sp>
        <p:nvSpPr>
          <p:cNvPr id="13" name="sketch line">
            <a:extLst>
              <a:ext uri="{FF2B5EF4-FFF2-40B4-BE49-F238E27FC236}">
                <a16:creationId xmlns:a16="http://schemas.microsoft.com/office/drawing/2014/main" id="{5D6C15A0-C087-4593-8414-2B4EC1CDC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2543983" y="3258715"/>
            <a:ext cx="4480560" cy="18288"/>
          </a:xfrm>
          <a:custGeom>
            <a:avLst/>
            <a:gdLst>
              <a:gd name="connsiteX0" fmla="*/ 0 w 4480560"/>
              <a:gd name="connsiteY0" fmla="*/ 0 h 18288"/>
              <a:gd name="connsiteX1" fmla="*/ 595274 w 4480560"/>
              <a:gd name="connsiteY1" fmla="*/ 0 h 18288"/>
              <a:gd name="connsiteX2" fmla="*/ 1100938 w 4480560"/>
              <a:gd name="connsiteY2" fmla="*/ 0 h 18288"/>
              <a:gd name="connsiteX3" fmla="*/ 1651406 w 4480560"/>
              <a:gd name="connsiteY3" fmla="*/ 0 h 18288"/>
              <a:gd name="connsiteX4" fmla="*/ 2336292 w 4480560"/>
              <a:gd name="connsiteY4" fmla="*/ 0 h 18288"/>
              <a:gd name="connsiteX5" fmla="*/ 2931566 w 4480560"/>
              <a:gd name="connsiteY5" fmla="*/ 0 h 18288"/>
              <a:gd name="connsiteX6" fmla="*/ 3482035 w 4480560"/>
              <a:gd name="connsiteY6" fmla="*/ 0 h 18288"/>
              <a:gd name="connsiteX7" fmla="*/ 4480560 w 4480560"/>
              <a:gd name="connsiteY7" fmla="*/ 0 h 18288"/>
              <a:gd name="connsiteX8" fmla="*/ 4480560 w 4480560"/>
              <a:gd name="connsiteY8" fmla="*/ 18288 h 18288"/>
              <a:gd name="connsiteX9" fmla="*/ 3840480 w 4480560"/>
              <a:gd name="connsiteY9" fmla="*/ 18288 h 18288"/>
              <a:gd name="connsiteX10" fmla="*/ 3290011 w 4480560"/>
              <a:gd name="connsiteY10" fmla="*/ 18288 h 18288"/>
              <a:gd name="connsiteX11" fmla="*/ 2560320 w 4480560"/>
              <a:gd name="connsiteY11" fmla="*/ 18288 h 18288"/>
              <a:gd name="connsiteX12" fmla="*/ 1965046 w 4480560"/>
              <a:gd name="connsiteY12" fmla="*/ 18288 h 18288"/>
              <a:gd name="connsiteX13" fmla="*/ 1459382 w 4480560"/>
              <a:gd name="connsiteY13" fmla="*/ 18288 h 18288"/>
              <a:gd name="connsiteX14" fmla="*/ 774497 w 4480560"/>
              <a:gd name="connsiteY14" fmla="*/ 18288 h 18288"/>
              <a:gd name="connsiteX15" fmla="*/ 0 w 4480560"/>
              <a:gd name="connsiteY15" fmla="*/ 18288 h 18288"/>
              <a:gd name="connsiteX16" fmla="*/ 0 w 4480560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0560" h="18288" fill="none" extrusionOk="0">
                <a:moveTo>
                  <a:pt x="0" y="0"/>
                </a:moveTo>
                <a:cubicBezTo>
                  <a:pt x="267821" y="8731"/>
                  <a:pt x="334105" y="2629"/>
                  <a:pt x="595274" y="0"/>
                </a:cubicBezTo>
                <a:cubicBezTo>
                  <a:pt x="856443" y="-2629"/>
                  <a:pt x="863808" y="-13353"/>
                  <a:pt x="1100938" y="0"/>
                </a:cubicBezTo>
                <a:cubicBezTo>
                  <a:pt x="1338068" y="13353"/>
                  <a:pt x="1431663" y="-25862"/>
                  <a:pt x="1651406" y="0"/>
                </a:cubicBezTo>
                <a:cubicBezTo>
                  <a:pt x="1871149" y="25862"/>
                  <a:pt x="2173163" y="23827"/>
                  <a:pt x="2336292" y="0"/>
                </a:cubicBezTo>
                <a:cubicBezTo>
                  <a:pt x="2499421" y="-23827"/>
                  <a:pt x="2720589" y="28148"/>
                  <a:pt x="2931566" y="0"/>
                </a:cubicBezTo>
                <a:cubicBezTo>
                  <a:pt x="3142543" y="-28148"/>
                  <a:pt x="3323630" y="27022"/>
                  <a:pt x="3482035" y="0"/>
                </a:cubicBezTo>
                <a:cubicBezTo>
                  <a:pt x="3640440" y="-27022"/>
                  <a:pt x="4012110" y="-20118"/>
                  <a:pt x="4480560" y="0"/>
                </a:cubicBezTo>
                <a:cubicBezTo>
                  <a:pt x="4480958" y="7429"/>
                  <a:pt x="4480540" y="10822"/>
                  <a:pt x="4480560" y="18288"/>
                </a:cubicBezTo>
                <a:cubicBezTo>
                  <a:pt x="4314132" y="14924"/>
                  <a:pt x="4028383" y="36632"/>
                  <a:pt x="3840480" y="18288"/>
                </a:cubicBezTo>
                <a:cubicBezTo>
                  <a:pt x="3652577" y="-56"/>
                  <a:pt x="3547615" y="2848"/>
                  <a:pt x="3290011" y="18288"/>
                </a:cubicBezTo>
                <a:cubicBezTo>
                  <a:pt x="3032407" y="33728"/>
                  <a:pt x="2830268" y="8719"/>
                  <a:pt x="2560320" y="18288"/>
                </a:cubicBezTo>
                <a:cubicBezTo>
                  <a:pt x="2290372" y="27857"/>
                  <a:pt x="2147422" y="6728"/>
                  <a:pt x="1965046" y="18288"/>
                </a:cubicBezTo>
                <a:cubicBezTo>
                  <a:pt x="1782670" y="29848"/>
                  <a:pt x="1689791" y="40680"/>
                  <a:pt x="1459382" y="18288"/>
                </a:cubicBezTo>
                <a:cubicBezTo>
                  <a:pt x="1228973" y="-4104"/>
                  <a:pt x="915486" y="36501"/>
                  <a:pt x="774497" y="18288"/>
                </a:cubicBezTo>
                <a:cubicBezTo>
                  <a:pt x="633508" y="75"/>
                  <a:pt x="361442" y="-11107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480560" h="18288" stroke="0" extrusionOk="0">
                <a:moveTo>
                  <a:pt x="0" y="0"/>
                </a:moveTo>
                <a:cubicBezTo>
                  <a:pt x="285465" y="225"/>
                  <a:pt x="322691" y="16223"/>
                  <a:pt x="595274" y="0"/>
                </a:cubicBezTo>
                <a:cubicBezTo>
                  <a:pt x="867857" y="-16223"/>
                  <a:pt x="989129" y="-11242"/>
                  <a:pt x="1100938" y="0"/>
                </a:cubicBezTo>
                <a:cubicBezTo>
                  <a:pt x="1212747" y="11242"/>
                  <a:pt x="1574350" y="-36410"/>
                  <a:pt x="1830629" y="0"/>
                </a:cubicBezTo>
                <a:cubicBezTo>
                  <a:pt x="2086908" y="36410"/>
                  <a:pt x="2180922" y="4645"/>
                  <a:pt x="2425903" y="0"/>
                </a:cubicBezTo>
                <a:cubicBezTo>
                  <a:pt x="2670884" y="-4645"/>
                  <a:pt x="2782024" y="22929"/>
                  <a:pt x="3021178" y="0"/>
                </a:cubicBezTo>
                <a:cubicBezTo>
                  <a:pt x="3260332" y="-22929"/>
                  <a:pt x="3456982" y="-1586"/>
                  <a:pt x="3750869" y="0"/>
                </a:cubicBezTo>
                <a:cubicBezTo>
                  <a:pt x="4044756" y="1586"/>
                  <a:pt x="4302726" y="17043"/>
                  <a:pt x="4480560" y="0"/>
                </a:cubicBezTo>
                <a:cubicBezTo>
                  <a:pt x="4479674" y="5429"/>
                  <a:pt x="4481381" y="14046"/>
                  <a:pt x="4480560" y="18288"/>
                </a:cubicBezTo>
                <a:cubicBezTo>
                  <a:pt x="4279652" y="-6850"/>
                  <a:pt x="4200762" y="41566"/>
                  <a:pt x="3930091" y="18288"/>
                </a:cubicBezTo>
                <a:cubicBezTo>
                  <a:pt x="3659420" y="-4990"/>
                  <a:pt x="3456052" y="22294"/>
                  <a:pt x="3290011" y="18288"/>
                </a:cubicBezTo>
                <a:cubicBezTo>
                  <a:pt x="3123970" y="14282"/>
                  <a:pt x="2882392" y="32818"/>
                  <a:pt x="2649931" y="18288"/>
                </a:cubicBezTo>
                <a:cubicBezTo>
                  <a:pt x="2417470" y="3758"/>
                  <a:pt x="2238426" y="7337"/>
                  <a:pt x="2054657" y="18288"/>
                </a:cubicBezTo>
                <a:cubicBezTo>
                  <a:pt x="1870888" y="29239"/>
                  <a:pt x="1566368" y="45040"/>
                  <a:pt x="1324966" y="18288"/>
                </a:cubicBezTo>
                <a:cubicBezTo>
                  <a:pt x="1083564" y="-8464"/>
                  <a:pt x="787410" y="10946"/>
                  <a:pt x="595274" y="18288"/>
                </a:cubicBezTo>
                <a:cubicBezTo>
                  <a:pt x="403138" y="25630"/>
                  <a:pt x="169622" y="10499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C12CFB-DCAE-E798-9585-FB75E5A71E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126418" y="552091"/>
            <a:ext cx="6224335" cy="54315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285750"/>
            <a:r>
              <a:rPr lang="en-US" sz="2200" b="1"/>
              <a:t>Business Rule Document –  </a:t>
            </a:r>
            <a:r>
              <a:rPr lang="en-US" sz="2200" b="1" i="1">
                <a:hlinkClick r:id="rId2"/>
              </a:rPr>
              <a:t>BRD</a:t>
            </a:r>
            <a:endParaRPr lang="en-US" sz="2200" b="1" i="1"/>
          </a:p>
          <a:p>
            <a:pPr marL="285750"/>
            <a:r>
              <a:rPr lang="en-US" sz="2200" b="1"/>
              <a:t>Authorization Role Matrix - </a:t>
            </a:r>
            <a:r>
              <a:rPr lang="en-US" sz="2200" b="1" i="1">
                <a:hlinkClick r:id="rId3"/>
              </a:rPr>
              <a:t>Authorization Role Matrix</a:t>
            </a:r>
            <a:endParaRPr lang="en-US" sz="2200" b="1"/>
          </a:p>
          <a:p>
            <a:pPr marL="285750"/>
            <a:r>
              <a:rPr lang="en-US" sz="2200" b="1"/>
              <a:t>FS Document – </a:t>
            </a:r>
            <a:r>
              <a:rPr lang="en-US" sz="2200" b="1" i="1">
                <a:hlinkClick r:id="rId4"/>
              </a:rPr>
              <a:t>FS PNIN</a:t>
            </a:r>
            <a:endParaRPr lang="en-US" sz="2200" b="1" i="1"/>
          </a:p>
          <a:p>
            <a:pPr marL="285750"/>
            <a:r>
              <a:rPr lang="en-US" sz="2200" b="1"/>
              <a:t>Fit Gap – No fit gaps</a:t>
            </a:r>
          </a:p>
          <a:p>
            <a:pPr marL="285750"/>
            <a:r>
              <a:rPr lang="en-US" sz="2200" b="1"/>
              <a:t>Global Scenario for PIPE&amp;NLAG – </a:t>
            </a:r>
            <a:r>
              <a:rPr lang="en-US" sz="2200" b="1">
                <a:hlinkClick r:id="rId5"/>
              </a:rPr>
              <a:t>PIPE &amp; NLAG</a:t>
            </a:r>
            <a:endParaRPr lang="en-US" sz="2200" b="1"/>
          </a:p>
          <a:p>
            <a:pPr marL="285750"/>
            <a:r>
              <a:rPr lang="en-US" sz="2200" b="1"/>
              <a:t>Global Scenario for UNBW - </a:t>
            </a:r>
            <a:r>
              <a:rPr lang="en-US" sz="2200" b="1">
                <a:hlinkClick r:id="rId6"/>
              </a:rPr>
              <a:t>UNBW</a:t>
            </a:r>
            <a:endParaRPr lang="en-US" sz="2200" b="1"/>
          </a:p>
          <a:p>
            <a:pPr marL="285750"/>
            <a:r>
              <a:rPr lang="en-US" sz="2200" b="1"/>
              <a:t>Global Scenario for ZPRM – </a:t>
            </a:r>
            <a:r>
              <a:rPr lang="en-US" sz="2200" b="1" i="1">
                <a:hlinkClick r:id="rId7"/>
              </a:rPr>
              <a:t>ZPRM</a:t>
            </a:r>
            <a:endParaRPr lang="en-US" sz="2200" b="1"/>
          </a:p>
          <a:p>
            <a:pPr marL="285750"/>
            <a:r>
              <a:rPr lang="en-US" sz="2200" b="1"/>
              <a:t>AS-IS &amp; TO-BE Process for VERP – </a:t>
            </a:r>
            <a:r>
              <a:rPr lang="en-US" sz="2200" b="1" i="1">
                <a:hlinkClick r:id="rId8"/>
              </a:rPr>
              <a:t>VERP</a:t>
            </a:r>
            <a:endParaRPr lang="en-US" sz="2200" b="1"/>
          </a:p>
          <a:p>
            <a:pPr marL="285750"/>
            <a:r>
              <a:rPr lang="en-US" sz="2200" b="1"/>
              <a:t>AS-IS &amp; TO-BE Process for ROH – </a:t>
            </a:r>
            <a:r>
              <a:rPr lang="en-US" sz="2200" b="1" i="1">
                <a:hlinkClick r:id="rId9"/>
              </a:rPr>
              <a:t>ROH</a:t>
            </a:r>
            <a:endParaRPr lang="en-US" sz="2200" b="1"/>
          </a:p>
          <a:p>
            <a:pPr marL="285750"/>
            <a:r>
              <a:rPr lang="en-US" sz="2200" b="1"/>
              <a:t>AS-IS &amp; TO-BE Process for FERT – </a:t>
            </a:r>
            <a:r>
              <a:rPr lang="en-US" sz="2200" b="1" i="1">
                <a:hlinkClick r:id="rId10"/>
              </a:rPr>
              <a:t>FERT</a:t>
            </a:r>
            <a:endParaRPr lang="en-US" sz="2200" b="1"/>
          </a:p>
        </p:txBody>
      </p:sp>
    </p:spTree>
    <p:extLst>
      <p:ext uri="{BB962C8B-B14F-4D97-AF65-F5344CB8AC3E}">
        <p14:creationId xmlns:p14="http://schemas.microsoft.com/office/powerpoint/2010/main" val="3891846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6">
            <a:extLst>
              <a:ext uri="{FF2B5EF4-FFF2-40B4-BE49-F238E27FC236}">
                <a16:creationId xmlns:a16="http://schemas.microsoft.com/office/drawing/2014/main" id="{CDA777BE-A3D6-479F-87A2-E581A9045A16}"/>
              </a:ext>
            </a:extLst>
          </p:cNvPr>
          <p:cNvSpPr txBox="1">
            <a:spLocks/>
          </p:cNvSpPr>
          <p:nvPr/>
        </p:nvSpPr>
        <p:spPr>
          <a:xfrm>
            <a:off x="264297" y="6079502"/>
            <a:ext cx="3633925" cy="52060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3000" b="1" kern="1200" spc="0" baseline="0">
                <a:solidFill>
                  <a:schemeClr val="tx2"/>
                </a:solidFill>
                <a:latin typeface="+mn-lt"/>
                <a:ea typeface="Mars Centra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0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tx2"/>
              </a:buClr>
              <a:buFont typeface="Mars Centra" pitchFamily="2" charset="0"/>
              <a:buNone/>
              <a:defRPr sz="16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800">
                <a:solidFill>
                  <a:srgbClr val="0000A0"/>
                </a:solidFill>
                <a:latin typeface="Mars Centra"/>
              </a:rPr>
              <a:t>January 2024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uLnTx/>
              <a:uFillTx/>
              <a:latin typeface="Mars Centra"/>
              <a:cs typeface="+mn-cs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5624499" y="1621735"/>
            <a:ext cx="5808702" cy="3614530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12" name="Slide Number"/>
          <p:cNvSpPr txBox="1"/>
          <p:nvPr/>
        </p:nvSpPr>
        <p:spPr>
          <a:xfrm>
            <a:off x="381000" y="6477000"/>
            <a:ext cx="226822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Arial" panose="020B0604020202020204" pitchFamily="34" charset="0"/>
              </a:rPr>
              <a:t>88</a:t>
            </a:r>
          </a:p>
        </p:txBody>
      </p:sp>
      <p:sp>
        <p:nvSpPr>
          <p:cNvPr id="3" name="Rectangle 2"/>
          <p:cNvSpPr/>
          <p:nvPr/>
        </p:nvSpPr>
        <p:spPr>
          <a:xfrm>
            <a:off x="1362456" y="146304"/>
            <a:ext cx="1627632" cy="603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67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5463EB0A-3D7C-4AA5-BFA5-8EE5B4BA56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0ED525-C4A7-401E-90D4-8A5721962D43}"/>
              </a:ext>
            </a:extLst>
          </p:cNvPr>
          <p:cNvSpPr txBox="1"/>
          <p:nvPr/>
        </p:nvSpPr>
        <p:spPr>
          <a:xfrm>
            <a:off x="578651" y="1122363"/>
            <a:ext cx="11034695" cy="317469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8000" b="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troduction</a:t>
            </a:r>
            <a:endParaRPr lang="en-US" sz="8000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945AD00-F967-454D-A4B2-39ABA5C88C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57544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9BC5B79-B912-427C-8219-E3E50943FC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578652" y="4501201"/>
            <a:ext cx="11034696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346912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EECC553-F2BF-4F91-B0D0-E6EE85AE7CCE}"/>
              </a:ext>
            </a:extLst>
          </p:cNvPr>
          <p:cNvSpPr/>
          <p:nvPr/>
        </p:nvSpPr>
        <p:spPr>
          <a:xfrm>
            <a:off x="535572" y="3396042"/>
            <a:ext cx="4834695" cy="3046904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C714DA-481E-483F-814B-C34E489E7281}"/>
              </a:ext>
            </a:extLst>
          </p:cNvPr>
          <p:cNvSpPr txBox="1"/>
          <p:nvPr/>
        </p:nvSpPr>
        <p:spPr>
          <a:xfrm>
            <a:off x="681736" y="3244232"/>
            <a:ext cx="2402607" cy="257369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DELIVERY TEAM: COGNIZA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F37559A-1A50-44D4-B372-959084B2BFF0}"/>
              </a:ext>
            </a:extLst>
          </p:cNvPr>
          <p:cNvSpPr/>
          <p:nvPr/>
        </p:nvSpPr>
        <p:spPr>
          <a:xfrm>
            <a:off x="719118" y="3555043"/>
            <a:ext cx="4515103" cy="479511"/>
          </a:xfrm>
          <a:prstGeom prst="rect">
            <a:avLst/>
          </a:prstGeom>
          <a:solidFill>
            <a:srgbClr val="00B05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Arpita Lahiri</a:t>
            </a:r>
          </a:p>
          <a:p>
            <a:pPr algn="ctr"/>
            <a:r>
              <a:rPr lang="en-US" sz="1000">
                <a:solidFill>
                  <a:schemeClr val="tx1">
                    <a:lumMod val="95000"/>
                    <a:lumOff val="5000"/>
                  </a:schemeClr>
                </a:solidFill>
                <a:latin typeface="Mars Centra"/>
              </a:rPr>
              <a:t>Project Manager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5C6BF7-E138-4189-BE74-EABE2BA98B6A}"/>
              </a:ext>
            </a:extLst>
          </p:cNvPr>
          <p:cNvSpPr/>
          <p:nvPr/>
        </p:nvSpPr>
        <p:spPr>
          <a:xfrm>
            <a:off x="306237" y="557743"/>
            <a:ext cx="11674968" cy="2267529"/>
          </a:xfrm>
          <a:prstGeom prst="rect">
            <a:avLst/>
          </a:prstGeom>
          <a:noFill/>
          <a:ln w="28575">
            <a:solidFill>
              <a:srgbClr val="990D6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0C6016A-8506-4198-B8D5-30505479FF01}"/>
              </a:ext>
            </a:extLst>
          </p:cNvPr>
          <p:cNvSpPr/>
          <p:nvPr/>
        </p:nvSpPr>
        <p:spPr>
          <a:xfrm>
            <a:off x="5553284" y="3429568"/>
            <a:ext cx="3839009" cy="1969987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164EAE3-626C-4068-8FC4-5D4B74C74E6C}"/>
              </a:ext>
            </a:extLst>
          </p:cNvPr>
          <p:cNvSpPr/>
          <p:nvPr/>
        </p:nvSpPr>
        <p:spPr>
          <a:xfrm>
            <a:off x="6001297" y="2133889"/>
            <a:ext cx="1440000" cy="540000"/>
          </a:xfrm>
          <a:prstGeom prst="rect">
            <a:avLst/>
          </a:prstGeom>
          <a:solidFill>
            <a:srgbClr val="96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Ivan Mintsa</a:t>
            </a:r>
          </a:p>
          <a:p>
            <a:pPr algn="ctr"/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Product data </a:t>
            </a: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technical manager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9362932-E3FD-4100-9439-B1373A2CA778}"/>
              </a:ext>
            </a:extLst>
          </p:cNvPr>
          <p:cNvSpPr/>
          <p:nvPr/>
        </p:nvSpPr>
        <p:spPr>
          <a:xfrm>
            <a:off x="8114517" y="1517239"/>
            <a:ext cx="1440000" cy="54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AJ Plummer</a:t>
            </a:r>
          </a:p>
          <a:p>
            <a:pPr algn="ctr"/>
            <a:r>
              <a:rPr lang="pt-BR" sz="900">
                <a:solidFill>
                  <a:schemeClr val="tx1">
                    <a:lumMod val="95000"/>
                    <a:lumOff val="5000"/>
                  </a:schemeClr>
                </a:solidFill>
                <a:latin typeface="Mars Centra"/>
              </a:rPr>
              <a:t>Regional Chief Data Steward</a:t>
            </a:r>
            <a:r>
              <a:rPr lang="pt-BR" sz="900">
                <a:solidFill>
                  <a:srgbClr val="FFFFFF"/>
                </a:solidFill>
                <a:latin typeface="Mars Centra"/>
              </a:rPr>
              <a:t>​</a:t>
            </a:r>
            <a:endParaRPr lang="en-US" sz="900">
              <a:solidFill>
                <a:srgbClr val="FFFFFF"/>
              </a:solidFill>
              <a:latin typeface="Mars Centra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2F7D8B0-3FA3-474F-A65B-492E49E07734}"/>
              </a:ext>
            </a:extLst>
          </p:cNvPr>
          <p:cNvSpPr txBox="1"/>
          <p:nvPr/>
        </p:nvSpPr>
        <p:spPr>
          <a:xfrm>
            <a:off x="5665020" y="3312675"/>
            <a:ext cx="2240000" cy="44203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FF8200"/>
                </a:solidFill>
                <a:latin typeface="Mars Centra"/>
              </a:rPr>
              <a:t>BUSINESS REPRESENTATIVE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8200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CCE51CD-E200-43CE-9370-6B76C26DDAF8}"/>
              </a:ext>
            </a:extLst>
          </p:cNvPr>
          <p:cNvSpPr/>
          <p:nvPr/>
        </p:nvSpPr>
        <p:spPr>
          <a:xfrm>
            <a:off x="5665020" y="3623722"/>
            <a:ext cx="1440000" cy="161716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algn="ctr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IN" sz="1100" b="0" i="0" u="none" strike="noStrike" kern="1200">
                <a:solidFill>
                  <a:schemeClr val="bg1"/>
                </a:solidFill>
                <a:effectLst/>
                <a:latin typeface="Mars Centra"/>
                <a:ea typeface="等线" panose="02010600030101010101" pitchFamily="2" charset="-122"/>
              </a:rPr>
              <a:t>Jessica Sun</a:t>
            </a:r>
            <a:endParaRPr lang="en-IN" sz="1100" b="0" i="0" u="none" strike="noStrike">
              <a:solidFill>
                <a:schemeClr val="bg1"/>
              </a:solidFill>
              <a:effectLst/>
              <a:latin typeface="Mars Centra"/>
            </a:endParaRPr>
          </a:p>
          <a:p>
            <a:pPr marL="0" algn="ctr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IN" sz="1100" b="0" i="0" u="none" strike="noStrike" kern="1200" err="1">
                <a:solidFill>
                  <a:schemeClr val="bg1"/>
                </a:solidFill>
                <a:effectLst/>
                <a:latin typeface="Mars Centra"/>
                <a:ea typeface="等线" panose="02010600030101010101" pitchFamily="2" charset="-122"/>
              </a:rPr>
              <a:t>Mallesham</a:t>
            </a:r>
            <a:r>
              <a:rPr lang="en-IN" sz="1100" b="0" i="0" u="none" strike="noStrike" kern="1200">
                <a:solidFill>
                  <a:schemeClr val="bg1"/>
                </a:solidFill>
                <a:effectLst/>
                <a:latin typeface="Mars Centra"/>
                <a:ea typeface="等线" panose="02010600030101010101" pitchFamily="2" charset="-122"/>
              </a:rPr>
              <a:t> </a:t>
            </a:r>
            <a:r>
              <a:rPr lang="en-IN" sz="1100" b="0" i="0" u="none" strike="noStrike" kern="1200" err="1">
                <a:solidFill>
                  <a:schemeClr val="bg1"/>
                </a:solidFill>
                <a:effectLst/>
                <a:latin typeface="Mars Centra"/>
                <a:ea typeface="等线" panose="02010600030101010101" pitchFamily="2" charset="-122"/>
              </a:rPr>
              <a:t>Doragolla</a:t>
            </a:r>
            <a:endParaRPr lang="en-IN" sz="1100" b="0" i="0" u="none" strike="noStrike">
              <a:solidFill>
                <a:schemeClr val="bg1"/>
              </a:solidFill>
              <a:effectLst/>
              <a:latin typeface="Mars Centra"/>
            </a:endParaRPr>
          </a:p>
          <a:p>
            <a:pPr marL="0" algn="ctr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IN" sz="1100" b="0" i="0" u="none" strike="noStrike" kern="1200" err="1">
                <a:solidFill>
                  <a:schemeClr val="bg1"/>
                </a:solidFill>
                <a:effectLst/>
                <a:latin typeface="Mars Centra"/>
                <a:ea typeface="等线" panose="02010600030101010101" pitchFamily="2" charset="-122"/>
              </a:rPr>
              <a:t>Vijayasimha</a:t>
            </a:r>
            <a:r>
              <a:rPr lang="en-IN" sz="1100" b="0" i="0" u="none" strike="noStrike" kern="1200">
                <a:solidFill>
                  <a:schemeClr val="bg1"/>
                </a:solidFill>
                <a:effectLst/>
                <a:latin typeface="Mars Centra"/>
                <a:ea typeface="等线" panose="02010600030101010101" pitchFamily="2" charset="-122"/>
              </a:rPr>
              <a:t> Reddy</a:t>
            </a:r>
            <a:endParaRPr lang="en-IN" sz="1100" b="0" i="0" u="none" strike="noStrike">
              <a:solidFill>
                <a:schemeClr val="bg1"/>
              </a:solidFill>
              <a:effectLst/>
              <a:latin typeface="Mars Centra"/>
            </a:endParaRPr>
          </a:p>
          <a:p>
            <a:pPr marL="0" algn="ctr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en-IN" sz="1100" b="0" i="0" u="none" strike="noStrike" kern="1200">
                <a:solidFill>
                  <a:schemeClr val="bg1"/>
                </a:solidFill>
                <a:effectLst/>
                <a:latin typeface="Mars Centra"/>
                <a:ea typeface="等线" panose="02010600030101010101" pitchFamily="2" charset="-122"/>
              </a:rPr>
              <a:t>Venu Venna</a:t>
            </a:r>
            <a:endParaRPr lang="en-IN" sz="1100" b="0" i="0" u="none" strike="noStrike">
              <a:solidFill>
                <a:schemeClr val="bg1"/>
              </a:solidFill>
              <a:effectLst/>
              <a:latin typeface="Mars Centra"/>
            </a:endParaRPr>
          </a:p>
          <a:p>
            <a:pPr algn="ctr">
              <a:defRPr/>
            </a:pPr>
            <a:r>
              <a:rPr lang="en-US" sz="1100" b="1">
                <a:solidFill>
                  <a:schemeClr val="tx1"/>
                </a:solidFill>
                <a:latin typeface="Mars Centra"/>
                <a:ea typeface="Mars Centra"/>
              </a:rPr>
              <a:t>Master Data Users</a:t>
            </a:r>
          </a:p>
          <a:p>
            <a:pPr algn="ctr">
              <a:defRPr/>
            </a:pPr>
            <a:endParaRPr lang="en-US" sz="800">
              <a:solidFill>
                <a:schemeClr val="bg1"/>
              </a:solidFill>
              <a:latin typeface="Mars Centra"/>
              <a:ea typeface="Mars Centra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9502D9C-2390-4DE6-A144-CEBBB3B53D8A}"/>
              </a:ext>
            </a:extLst>
          </p:cNvPr>
          <p:cNvSpPr/>
          <p:nvPr/>
        </p:nvSpPr>
        <p:spPr>
          <a:xfrm>
            <a:off x="2870166" y="2094143"/>
            <a:ext cx="1440000" cy="54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r>
              <a:rPr lang="en-US" sz="1100" b="1" dirty="0">
                <a:solidFill>
                  <a:schemeClr val="bg1"/>
                </a:solidFill>
                <a:latin typeface="Mars Centra"/>
              </a:rPr>
              <a:t>Puneet Dhawan</a:t>
            </a:r>
          </a:p>
          <a:p>
            <a:pPr algn="ctr">
              <a:defRPr/>
            </a:pPr>
            <a:r>
              <a:rPr lang="en-US" sz="1100" dirty="0">
                <a:solidFill>
                  <a:schemeClr val="tx1"/>
                </a:solidFill>
                <a:latin typeface="Mars Centra"/>
              </a:rPr>
              <a:t>S&amp;F Director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7A9B395-5998-4A20-908F-F4FBDED6693D}"/>
              </a:ext>
            </a:extLst>
          </p:cNvPr>
          <p:cNvSpPr/>
          <p:nvPr/>
        </p:nvSpPr>
        <p:spPr>
          <a:xfrm>
            <a:off x="6324661" y="5763470"/>
            <a:ext cx="5469941" cy="758647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613B2E4-0693-4AB5-B1CE-1DD40AF0805D}"/>
              </a:ext>
            </a:extLst>
          </p:cNvPr>
          <p:cNvSpPr txBox="1"/>
          <p:nvPr/>
        </p:nvSpPr>
        <p:spPr>
          <a:xfrm>
            <a:off x="6460264" y="5625985"/>
            <a:ext cx="1806386" cy="257369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FF8200"/>
                </a:solidFill>
                <a:latin typeface="Mars Centra"/>
              </a:rPr>
              <a:t>MARS Core Service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8200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2143793-30DA-4550-B1CD-DDD0F7968993}"/>
              </a:ext>
            </a:extLst>
          </p:cNvPr>
          <p:cNvSpPr/>
          <p:nvPr/>
        </p:nvSpPr>
        <p:spPr>
          <a:xfrm>
            <a:off x="10172483" y="863396"/>
            <a:ext cx="1495254" cy="54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Camila Perett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Template manager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38884A9-629C-44C2-9E8E-8801A7D734E3}"/>
              </a:ext>
            </a:extLst>
          </p:cNvPr>
          <p:cNvSpPr/>
          <p:nvPr/>
        </p:nvSpPr>
        <p:spPr>
          <a:xfrm>
            <a:off x="10078488" y="5872794"/>
            <a:ext cx="1440000" cy="54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Aliveni Benk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Service analyst</a:t>
            </a:r>
            <a:endParaRPr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Mars Centra"/>
              <a:ea typeface="Mars Centra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BFDD3B8-272B-4DFD-9EC2-D278E61CB584}"/>
              </a:ext>
            </a:extLst>
          </p:cNvPr>
          <p:cNvSpPr/>
          <p:nvPr/>
        </p:nvSpPr>
        <p:spPr>
          <a:xfrm>
            <a:off x="10172483" y="1484211"/>
            <a:ext cx="1502864" cy="54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Matt O’Too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Security Lea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0CCE830-98EB-40D1-B874-A57A5463311E}"/>
              </a:ext>
            </a:extLst>
          </p:cNvPr>
          <p:cNvSpPr/>
          <p:nvPr/>
        </p:nvSpPr>
        <p:spPr>
          <a:xfrm>
            <a:off x="3794221" y="4094025"/>
            <a:ext cx="1440000" cy="107649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defRPr/>
            </a:pPr>
            <a:r>
              <a:rPr lang="en-US" sz="1100" b="1" err="1">
                <a:solidFill>
                  <a:srgbClr val="FFFFFF"/>
                </a:solidFill>
                <a:latin typeface="Mars Centra"/>
              </a:rPr>
              <a:t>Alankar</a:t>
            </a:r>
            <a:r>
              <a:rPr lang="en-US" sz="1100" b="1">
                <a:solidFill>
                  <a:srgbClr val="FFFFFF"/>
                </a:solidFill>
                <a:latin typeface="Mars Centra"/>
              </a:rPr>
              <a:t> </a:t>
            </a:r>
            <a:r>
              <a:rPr lang="en-US" sz="1100" b="1" err="1">
                <a:solidFill>
                  <a:srgbClr val="FFFFFF"/>
                </a:solidFill>
                <a:latin typeface="Mars Centra"/>
              </a:rPr>
              <a:t>Nonia</a:t>
            </a:r>
            <a:endParaRPr lang="en-US" sz="1100" b="1">
              <a:solidFill>
                <a:srgbClr val="FFFFFF"/>
              </a:solidFill>
              <a:latin typeface="Mars Centra"/>
            </a:endParaRPr>
          </a:p>
          <a:p>
            <a:pPr lvl="0" algn="ctr">
              <a:defRPr/>
            </a:pPr>
            <a:r>
              <a:rPr lang="en-US" sz="1000">
                <a:solidFill>
                  <a:schemeClr val="tx1">
                    <a:lumMod val="95000"/>
                    <a:lumOff val="5000"/>
                  </a:schemeClr>
                </a:solidFill>
              </a:rPr>
              <a:t>QA Tester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9DE87D0-1782-4185-BE15-37A475DDDB45}"/>
              </a:ext>
            </a:extLst>
          </p:cNvPr>
          <p:cNvSpPr/>
          <p:nvPr/>
        </p:nvSpPr>
        <p:spPr>
          <a:xfrm>
            <a:off x="719118" y="5892089"/>
            <a:ext cx="3007112" cy="448791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endParaRPr lang="en-US" sz="1200" b="1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en-US" sz="1100" b="1">
                <a:solidFill>
                  <a:schemeClr val="bg1"/>
                </a:solidFill>
              </a:rPr>
              <a:t>Namranil Roynath</a:t>
            </a:r>
          </a:p>
          <a:p>
            <a:pPr algn="ctr">
              <a:defRPr/>
            </a:pPr>
            <a:r>
              <a:rPr lang="en-US" sz="1050">
                <a:solidFill>
                  <a:schemeClr val="tx1">
                    <a:lumMod val="95000"/>
                    <a:lumOff val="5000"/>
                  </a:schemeClr>
                </a:solidFill>
              </a:rPr>
              <a:t>Central/Core team to support</a:t>
            </a:r>
          </a:p>
          <a:p>
            <a:pPr algn="ctr">
              <a:defRPr/>
            </a:pPr>
            <a:endParaRPr lang="en-US" sz="9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DAF658C-E17D-421D-A01D-F0A9F622F700}"/>
              </a:ext>
            </a:extLst>
          </p:cNvPr>
          <p:cNvSpPr/>
          <p:nvPr/>
        </p:nvSpPr>
        <p:spPr>
          <a:xfrm>
            <a:off x="719118" y="4094829"/>
            <a:ext cx="3007112" cy="57377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endParaRPr lang="en-US" sz="1100"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en-US" sz="1100" b="1">
                <a:solidFill>
                  <a:schemeClr val="bg1"/>
                </a:solidFill>
              </a:rPr>
              <a:t>Gowtham Kumar Peddi</a:t>
            </a:r>
            <a:endParaRPr lang="en-US"/>
          </a:p>
          <a:p>
            <a:pPr algn="ctr">
              <a:defRPr/>
            </a:pPr>
            <a:r>
              <a:rPr lang="en-US" sz="1000">
                <a:solidFill>
                  <a:schemeClr val="tx1">
                    <a:lumMod val="95000"/>
                    <a:lumOff val="5000"/>
                  </a:schemeClr>
                </a:solidFill>
              </a:rPr>
              <a:t>Configuration Consultants</a:t>
            </a:r>
            <a:endParaRPr lang="en-US" sz="11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BBBA8F1-FE6A-40C9-BB5C-83D661D640F3}"/>
              </a:ext>
            </a:extLst>
          </p:cNvPr>
          <p:cNvSpPr/>
          <p:nvPr/>
        </p:nvSpPr>
        <p:spPr>
          <a:xfrm>
            <a:off x="8407433" y="5875907"/>
            <a:ext cx="1440000" cy="54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/>
              <a:t>Abba Rae Alvare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Security team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F83625F-E9AC-4D66-B7F5-0363FB78BEE7}"/>
              </a:ext>
            </a:extLst>
          </p:cNvPr>
          <p:cNvSpPr/>
          <p:nvPr/>
        </p:nvSpPr>
        <p:spPr>
          <a:xfrm>
            <a:off x="6736378" y="5892089"/>
            <a:ext cx="1440000" cy="54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Aleksandra Kubik</a:t>
            </a:r>
          </a:p>
          <a:p>
            <a:pPr algn="ctr"/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SME ATLAS/GRD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8FB4F0A-2F26-4507-9ECA-E7A093F70097}"/>
              </a:ext>
            </a:extLst>
          </p:cNvPr>
          <p:cNvSpPr/>
          <p:nvPr/>
        </p:nvSpPr>
        <p:spPr>
          <a:xfrm>
            <a:off x="8114517" y="2105661"/>
            <a:ext cx="1440000" cy="6111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Jessica Sun​</a:t>
            </a:r>
          </a:p>
          <a:p>
            <a:pPr algn="ctr"/>
            <a:r>
              <a:rPr lang="en-US" sz="900">
                <a:solidFill>
                  <a:schemeClr val="tx1">
                    <a:lumMod val="95000"/>
                    <a:lumOff val="5000"/>
                  </a:schemeClr>
                </a:solidFill>
                <a:latin typeface="Mars Centra"/>
              </a:rPr>
              <a:t>Product Data Steward</a:t>
            </a:r>
          </a:p>
          <a:p>
            <a:pPr algn="ctr"/>
            <a:r>
              <a:rPr lang="en-US" sz="900">
                <a:solidFill>
                  <a:schemeClr val="tx1">
                    <a:lumMod val="95000"/>
                    <a:lumOff val="5000"/>
                  </a:schemeClr>
                </a:solidFill>
                <a:latin typeface="Mars Centra"/>
              </a:rPr>
              <a:t>(MDM FE)</a:t>
            </a:r>
            <a:endParaRPr lang="en-US" sz="900">
              <a:solidFill>
                <a:schemeClr val="tx1">
                  <a:lumMod val="95000"/>
                  <a:lumOff val="5000"/>
                </a:schemeClr>
              </a:solidFill>
              <a:latin typeface="Mars Centra"/>
              <a:ea typeface="Mars Centra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659AECE-EB22-4430-BCE8-3675C46ED914}"/>
              </a:ext>
            </a:extLst>
          </p:cNvPr>
          <p:cNvSpPr/>
          <p:nvPr/>
        </p:nvSpPr>
        <p:spPr>
          <a:xfrm>
            <a:off x="8287221" y="3624298"/>
            <a:ext cx="1048574" cy="163080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r>
              <a:rPr lang="en-US" sz="1100" b="1" dirty="0">
                <a:solidFill>
                  <a:schemeClr val="bg1"/>
                </a:solidFill>
                <a:latin typeface="Mars Centra"/>
                <a:cs typeface="Arial"/>
              </a:rPr>
              <a:t> Mickael Xu</a:t>
            </a:r>
          </a:p>
          <a:p>
            <a:pPr algn="ctr">
              <a:defRPr/>
            </a:pPr>
            <a:r>
              <a:rPr lang="en-US" sz="1100" b="1" dirty="0">
                <a:solidFill>
                  <a:schemeClr val="tx1"/>
                </a:solidFill>
                <a:latin typeface="Mars Centra"/>
                <a:ea typeface="Mars Centra"/>
              </a:rPr>
              <a:t>Project Manager</a:t>
            </a:r>
            <a:endParaRPr lang="en-US" sz="1100" b="1" dirty="0">
              <a:solidFill>
                <a:schemeClr val="tx1"/>
              </a:solidFill>
              <a:latin typeface="Mars Centra"/>
              <a:ea typeface="Mars Centra"/>
              <a:cs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191CAFF-ACB8-4549-AD9D-ABECE97AD666}"/>
              </a:ext>
            </a:extLst>
          </p:cNvPr>
          <p:cNvSpPr/>
          <p:nvPr/>
        </p:nvSpPr>
        <p:spPr>
          <a:xfrm>
            <a:off x="306236" y="3008261"/>
            <a:ext cx="11674969" cy="3734347"/>
          </a:xfrm>
          <a:prstGeom prst="rect">
            <a:avLst/>
          </a:prstGeom>
          <a:noFill/>
          <a:ln w="28575">
            <a:solidFill>
              <a:srgbClr val="990D67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069827A-B327-4121-9FC8-B35475E9E073}"/>
              </a:ext>
            </a:extLst>
          </p:cNvPr>
          <p:cNvSpPr txBox="1"/>
          <p:nvPr/>
        </p:nvSpPr>
        <p:spPr>
          <a:xfrm>
            <a:off x="440747" y="448846"/>
            <a:ext cx="2831194" cy="318924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rgbClr val="FF8200"/>
                </a:solidFill>
                <a:latin typeface="Mars Centra"/>
              </a:rPr>
              <a:t>Governance Team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8200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73F095D-2282-4E79-BABD-8634C44D0DC5}"/>
              </a:ext>
            </a:extLst>
          </p:cNvPr>
          <p:cNvSpPr txBox="1"/>
          <p:nvPr/>
        </p:nvSpPr>
        <p:spPr>
          <a:xfrm>
            <a:off x="397397" y="2863423"/>
            <a:ext cx="2402607" cy="318924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rgbClr val="FF8200"/>
                </a:solidFill>
                <a:latin typeface="Mars Centra"/>
              </a:rPr>
              <a:t>PROJECT TEAM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8200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35AEC12-AE15-472E-A0B9-D7598CA89F28}"/>
              </a:ext>
            </a:extLst>
          </p:cNvPr>
          <p:cNvSpPr/>
          <p:nvPr/>
        </p:nvSpPr>
        <p:spPr>
          <a:xfrm>
            <a:off x="6001297" y="945713"/>
            <a:ext cx="1440000" cy="562940"/>
          </a:xfrm>
          <a:prstGeom prst="rect">
            <a:avLst/>
          </a:prstGeom>
          <a:solidFill>
            <a:srgbClr val="9600F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Stephanie Dreux</a:t>
            </a:r>
          </a:p>
          <a:p>
            <a:pPr algn="ctr"/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MDG-M EU </a:t>
            </a: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Deployment lead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3395314-14A8-4BF1-9306-1C18A36F5128}"/>
              </a:ext>
            </a:extLst>
          </p:cNvPr>
          <p:cNvSpPr/>
          <p:nvPr/>
        </p:nvSpPr>
        <p:spPr>
          <a:xfrm>
            <a:off x="6001297" y="1542893"/>
            <a:ext cx="1440000" cy="562940"/>
          </a:xfrm>
          <a:prstGeom prst="rect">
            <a:avLst/>
          </a:prstGeom>
          <a:solidFill>
            <a:srgbClr val="9600F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Eser Bulucu</a:t>
            </a:r>
          </a:p>
          <a:p>
            <a:pPr algn="ctr"/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Product Data Champion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6B58B02-81F2-43DE-8B54-A2691B1F6D88}"/>
              </a:ext>
            </a:extLst>
          </p:cNvPr>
          <p:cNvSpPr/>
          <p:nvPr/>
        </p:nvSpPr>
        <p:spPr>
          <a:xfrm>
            <a:off x="9727221" y="3781775"/>
            <a:ext cx="1948126" cy="540000"/>
          </a:xfrm>
          <a:prstGeom prst="rect">
            <a:avLst/>
          </a:prstGeom>
          <a:solidFill>
            <a:srgbClr val="FFD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/>
              <a:t>Swaminathan Lakshmanan </a:t>
            </a:r>
            <a:endParaRPr lang="en-US" sz="1200" b="1" dirty="0">
              <a:ea typeface="Mars Centr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Mars Centra"/>
              </a:rPr>
              <a:t>Profiling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 Analyst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F67FCF6-4861-4B75-BF53-0AE91F3E7B3D}"/>
              </a:ext>
            </a:extLst>
          </p:cNvPr>
          <p:cNvSpPr/>
          <p:nvPr/>
        </p:nvSpPr>
        <p:spPr>
          <a:xfrm>
            <a:off x="9671786" y="3578101"/>
            <a:ext cx="2051114" cy="920327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3D97E7E-97AC-4B61-9006-F830C59FB6F5}"/>
              </a:ext>
            </a:extLst>
          </p:cNvPr>
          <p:cNvSpPr txBox="1"/>
          <p:nvPr/>
        </p:nvSpPr>
        <p:spPr>
          <a:xfrm>
            <a:off x="9794084" y="3449416"/>
            <a:ext cx="1067807" cy="257369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FF8200"/>
                </a:solidFill>
                <a:latin typeface="Mars Centra"/>
              </a:rPr>
              <a:t>Global MD FE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8200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21CA98C-5538-40C1-A1E4-DF892D09FA3B}"/>
              </a:ext>
            </a:extLst>
          </p:cNvPr>
          <p:cNvSpPr/>
          <p:nvPr/>
        </p:nvSpPr>
        <p:spPr>
          <a:xfrm>
            <a:off x="2863569" y="1500721"/>
            <a:ext cx="1440000" cy="54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bg1"/>
                </a:solidFill>
                <a:latin typeface="Mars Centra"/>
              </a:rPr>
              <a:t>Max Zhang</a:t>
            </a:r>
            <a:endParaRPr lang="en-US"/>
          </a:p>
          <a:p>
            <a:pPr algn="ctr"/>
            <a:r>
              <a:rPr lang="en-US" sz="1100">
                <a:solidFill>
                  <a:schemeClr val="tx1"/>
                </a:solidFill>
                <a:latin typeface="Mars Centra"/>
              </a:rPr>
              <a:t>Regional Director-SCF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&amp;</a:t>
            </a:r>
            <a:r>
              <a:rPr lang="en-US" sz="1100">
                <a:solidFill>
                  <a:schemeClr val="tx1"/>
                </a:solidFill>
                <a:latin typeface="Mars Centra"/>
              </a:rPr>
              <a:t>FA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4BA0261E-B56A-458A-B624-CBC170321507}"/>
              </a:ext>
            </a:extLst>
          </p:cNvPr>
          <p:cNvSpPr/>
          <p:nvPr/>
        </p:nvSpPr>
        <p:spPr>
          <a:xfrm>
            <a:off x="740297" y="1243959"/>
            <a:ext cx="1440000" cy="115993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COGNIZANT</a:t>
            </a:r>
          </a:p>
          <a:p>
            <a:pPr algn="ctr"/>
            <a:r>
              <a:rPr lang="en-US" sz="1200">
                <a:solidFill>
                  <a:srgbClr val="FFFFFF"/>
                </a:solidFill>
              </a:rPr>
              <a:t>Dharamveer Gaur/</a:t>
            </a:r>
          </a:p>
          <a:p>
            <a:pPr algn="ctr"/>
            <a:r>
              <a:rPr lang="en-US" sz="1200">
                <a:solidFill>
                  <a:srgbClr val="FFFFFF"/>
                </a:solidFill>
              </a:rPr>
              <a:t>Sudipta Maitra/</a:t>
            </a:r>
          </a:p>
          <a:p>
            <a:pPr algn="ctr"/>
            <a:r>
              <a:rPr lang="en-US" sz="1200">
                <a:solidFill>
                  <a:srgbClr val="FFFFFF"/>
                </a:solidFill>
              </a:rPr>
              <a:t>Arnab Mitra</a:t>
            </a:r>
            <a:endParaRPr lang="en-US" sz="900">
              <a:solidFill>
                <a:srgbClr val="FFFFFF"/>
              </a:solidFill>
            </a:endParaRPr>
          </a:p>
          <a:p>
            <a:pPr algn="ctr"/>
            <a:endParaRPr lang="en-US" sz="1200" b="1"/>
          </a:p>
        </p:txBody>
      </p:sp>
      <p:sp>
        <p:nvSpPr>
          <p:cNvPr id="61" name="Title 2">
            <a:extLst>
              <a:ext uri="{FF2B5EF4-FFF2-40B4-BE49-F238E27FC236}">
                <a16:creationId xmlns:a16="http://schemas.microsoft.com/office/drawing/2014/main" id="{A5C81158-498C-4D50-983A-EFD0D89F6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351" y="116842"/>
            <a:ext cx="11376024" cy="430934"/>
          </a:xfrm>
        </p:spPr>
        <p:txBody>
          <a:bodyPr>
            <a:normAutofit fontScale="90000"/>
          </a:bodyPr>
          <a:lstStyle/>
          <a:p>
            <a:r>
              <a:rPr lang="fr-FR"/>
              <a:t>PROJECT GOVERNANC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A6A0DF5-26B1-4B68-AC3A-6AA137BDA1A9}"/>
              </a:ext>
            </a:extLst>
          </p:cNvPr>
          <p:cNvSpPr/>
          <p:nvPr/>
        </p:nvSpPr>
        <p:spPr>
          <a:xfrm>
            <a:off x="3794221" y="5240882"/>
            <a:ext cx="1440000" cy="109694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r>
              <a:rPr lang="en-US" sz="1100" b="1">
                <a:solidFill>
                  <a:srgbClr val="FFFFFF"/>
                </a:solidFill>
                <a:latin typeface="Mars Centra"/>
              </a:rPr>
              <a:t>Kakali Mukherjee</a:t>
            </a:r>
          </a:p>
          <a:p>
            <a:pPr algn="ctr"/>
            <a:r>
              <a:rPr lang="en-US" sz="1000">
                <a:solidFill>
                  <a:schemeClr val="tx1">
                    <a:lumMod val="95000"/>
                    <a:lumOff val="5000"/>
                  </a:schemeClr>
                </a:solidFill>
              </a:rPr>
              <a:t>BIT Lea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8F9EACD-63B0-4DE7-B23A-FE7BCE2330A2}"/>
              </a:ext>
            </a:extLst>
          </p:cNvPr>
          <p:cNvSpPr txBox="1"/>
          <p:nvPr/>
        </p:nvSpPr>
        <p:spPr>
          <a:xfrm>
            <a:off x="5571326" y="582474"/>
            <a:ext cx="2336575" cy="257369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Global Product Master data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33C2A45-34FC-422D-8E85-DE8C7E8343BC}"/>
              </a:ext>
            </a:extLst>
          </p:cNvPr>
          <p:cNvSpPr/>
          <p:nvPr/>
        </p:nvSpPr>
        <p:spPr>
          <a:xfrm>
            <a:off x="2468913" y="803439"/>
            <a:ext cx="2248597" cy="1939109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536123A-230E-4C28-B2FE-7340F11F7B2D}"/>
              </a:ext>
            </a:extLst>
          </p:cNvPr>
          <p:cNvSpPr txBox="1"/>
          <p:nvPr/>
        </p:nvSpPr>
        <p:spPr>
          <a:xfrm>
            <a:off x="2162257" y="593048"/>
            <a:ext cx="1581324" cy="257369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8200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Business leadership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6639E20-6441-4D8A-89E2-6B664AE98E02}"/>
              </a:ext>
            </a:extLst>
          </p:cNvPr>
          <p:cNvSpPr/>
          <p:nvPr/>
        </p:nvSpPr>
        <p:spPr>
          <a:xfrm>
            <a:off x="5463965" y="798758"/>
            <a:ext cx="4360797" cy="1971410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151A1DD-454D-45C8-BA72-BD9B35693E99}"/>
              </a:ext>
            </a:extLst>
          </p:cNvPr>
          <p:cNvSpPr/>
          <p:nvPr/>
        </p:nvSpPr>
        <p:spPr>
          <a:xfrm>
            <a:off x="10024266" y="789831"/>
            <a:ext cx="1770337" cy="1919711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88EBC51-DE70-4251-80FE-F080D078C4BC}"/>
              </a:ext>
            </a:extLst>
          </p:cNvPr>
          <p:cNvSpPr txBox="1"/>
          <p:nvPr/>
        </p:nvSpPr>
        <p:spPr>
          <a:xfrm>
            <a:off x="10079000" y="581885"/>
            <a:ext cx="1518604" cy="257369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FF8200"/>
                </a:solidFill>
                <a:latin typeface="Mars Centra"/>
              </a:rPr>
              <a:t>MARS Core Service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8200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22DC72E-1587-8398-5061-0D2C093AD241}"/>
              </a:ext>
            </a:extLst>
          </p:cNvPr>
          <p:cNvSpPr/>
          <p:nvPr/>
        </p:nvSpPr>
        <p:spPr>
          <a:xfrm>
            <a:off x="709791" y="4682806"/>
            <a:ext cx="3016439" cy="118998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defRPr/>
            </a:pPr>
            <a:endParaRPr lang="en-US" sz="1100" b="1">
              <a:solidFill>
                <a:schemeClr val="bg1"/>
              </a:solidFill>
            </a:endParaRPr>
          </a:p>
          <a:p>
            <a:pPr lvl="0" algn="ctr">
              <a:defRPr/>
            </a:pPr>
            <a:r>
              <a:rPr lang="en-US" sz="1100" b="1">
                <a:solidFill>
                  <a:schemeClr val="bg1"/>
                </a:solidFill>
              </a:rPr>
              <a:t>Inchara T</a:t>
            </a:r>
          </a:p>
          <a:p>
            <a:pPr algn="ctr">
              <a:defRPr/>
            </a:pPr>
            <a:r>
              <a:rPr lang="en-US" sz="1100" b="1">
                <a:solidFill>
                  <a:schemeClr val="bg1"/>
                </a:solidFill>
              </a:rPr>
              <a:t>Vikee Pudakhe</a:t>
            </a:r>
          </a:p>
          <a:p>
            <a:pPr algn="ctr">
              <a:defRPr/>
            </a:pPr>
            <a:r>
              <a:rPr lang="en-US" sz="1100" b="1">
                <a:solidFill>
                  <a:schemeClr val="bg1"/>
                </a:solidFill>
              </a:rPr>
              <a:t>Sandilya </a:t>
            </a:r>
            <a:r>
              <a:rPr lang="en-US" sz="1100" b="1" err="1">
                <a:solidFill>
                  <a:schemeClr val="bg1"/>
                </a:solidFill>
              </a:rPr>
              <a:t>Bukkapatnam</a:t>
            </a:r>
            <a:endParaRPr lang="en-US" sz="1100" b="1">
              <a:solidFill>
                <a:schemeClr val="bg1"/>
              </a:solidFill>
            </a:endParaRPr>
          </a:p>
          <a:p>
            <a:pPr lvl="0" algn="ctr">
              <a:defRPr/>
            </a:pPr>
            <a:r>
              <a:rPr lang="en-US" sz="1000">
                <a:solidFill>
                  <a:schemeClr val="tx1">
                    <a:lumMod val="95000"/>
                    <a:lumOff val="5000"/>
                  </a:schemeClr>
                </a:solidFill>
              </a:rPr>
              <a:t>MDG Junior Developers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BE7931A-FEDA-B620-F3C9-014099604369}"/>
              </a:ext>
            </a:extLst>
          </p:cNvPr>
          <p:cNvSpPr/>
          <p:nvPr/>
        </p:nvSpPr>
        <p:spPr>
          <a:xfrm>
            <a:off x="8114517" y="911447"/>
            <a:ext cx="1440000" cy="54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Detlef Koenigs</a:t>
            </a:r>
          </a:p>
          <a:p>
            <a:pPr algn="ctr"/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Product data office</a:t>
            </a:r>
          </a:p>
          <a:p>
            <a:pPr algn="ctr"/>
            <a:r>
              <a:rPr lang="en-US" sz="900">
                <a:solidFill>
                  <a:schemeClr val="tx1">
                    <a:lumMod val="95000"/>
                    <a:lumOff val="5000"/>
                  </a:schemeClr>
                </a:solidFill>
                <a:latin typeface="Mars Centra"/>
              </a:rPr>
              <a:t>Product Owner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D15A7D-BF45-ED45-1E84-1B032C26703A}"/>
              </a:ext>
            </a:extLst>
          </p:cNvPr>
          <p:cNvSpPr/>
          <p:nvPr/>
        </p:nvSpPr>
        <p:spPr>
          <a:xfrm>
            <a:off x="10182941" y="2112121"/>
            <a:ext cx="1492406" cy="54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/>
              <a:t>Steve Curti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900">
                <a:solidFill>
                  <a:schemeClr val="tx1">
                    <a:lumMod val="95000"/>
                    <a:lumOff val="5000"/>
                  </a:schemeClr>
                </a:solidFill>
                <a:latin typeface="Mars Centra"/>
              </a:rPr>
              <a:t>MDG System Owner</a:t>
            </a:r>
            <a:endParaRPr lang="en-US" sz="900">
              <a:solidFill>
                <a:schemeClr val="tx1">
                  <a:lumMod val="95000"/>
                  <a:lumOff val="5000"/>
                </a:schemeClr>
              </a:solidFill>
              <a:latin typeface="Mars Centra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EA013E6-2C98-B213-BBE4-DB3C39D71315}"/>
              </a:ext>
            </a:extLst>
          </p:cNvPr>
          <p:cNvSpPr/>
          <p:nvPr/>
        </p:nvSpPr>
        <p:spPr>
          <a:xfrm>
            <a:off x="6961557" y="3623721"/>
            <a:ext cx="1440000" cy="161716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t"/>
            <a:r>
              <a:rPr lang="en-IN" sz="1100" b="0" i="0" u="none" strike="noStrike">
                <a:solidFill>
                  <a:schemeClr val="bg1"/>
                </a:solidFill>
                <a:effectLst/>
                <a:latin typeface="Calibri" panose="020F0502020204030204" pitchFamily="34" charset="0"/>
                <a:ea typeface="等线" panose="02010600030101010101" pitchFamily="2" charset="-122"/>
              </a:rPr>
              <a:t>Vasa </a:t>
            </a:r>
            <a:r>
              <a:rPr lang="en-IN" sz="1100" b="0" i="0" u="none" strike="noStrike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等线" panose="02010600030101010101" pitchFamily="2" charset="-122"/>
              </a:rPr>
              <a:t>Gurupyara</a:t>
            </a:r>
            <a:endParaRPr lang="en-IN" sz="1100" b="0" i="0" u="none" strike="noStrike">
              <a:solidFill>
                <a:schemeClr val="bg1"/>
              </a:solidFill>
              <a:effectLst/>
              <a:latin typeface="Calibri" panose="020F0502020204030204" pitchFamily="34" charset="0"/>
              <a:ea typeface="等线" panose="02010600030101010101" pitchFamily="2" charset="-122"/>
            </a:endParaRPr>
          </a:p>
          <a:p>
            <a:pPr algn="ctr">
              <a:defRPr/>
            </a:pPr>
            <a:r>
              <a:rPr lang="en-US" sz="1100" b="1">
                <a:solidFill>
                  <a:schemeClr val="tx1"/>
                </a:solidFill>
                <a:latin typeface="Mars Centra"/>
                <a:ea typeface="Mars Centra"/>
              </a:rPr>
              <a:t>Supply Planning</a:t>
            </a:r>
          </a:p>
          <a:p>
            <a:pPr algn="ctr">
              <a:defRPr/>
            </a:pPr>
            <a:endParaRPr lang="en-US" sz="1100" b="1">
              <a:solidFill>
                <a:schemeClr val="bg1"/>
              </a:solidFill>
              <a:latin typeface="Mars Centra"/>
              <a:ea typeface="Mars Centra"/>
            </a:endParaRPr>
          </a:p>
          <a:p>
            <a:pPr algn="ctr" fontAlgn="b"/>
            <a:r>
              <a:rPr lang="en-IN" sz="1100" b="0" i="0" u="none" strike="noStrike">
                <a:solidFill>
                  <a:schemeClr val="bg1"/>
                </a:solidFill>
                <a:effectLst/>
                <a:latin typeface="Calibri" panose="020F0502020204030204" pitchFamily="34" charset="0"/>
                <a:ea typeface="等线" panose="02010600030101010101" pitchFamily="2" charset="-122"/>
              </a:rPr>
              <a:t>Kanika </a:t>
            </a:r>
            <a:r>
              <a:rPr lang="en-IN" sz="1100" b="0" i="0" u="none" strike="noStrike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等线" panose="02010600030101010101" pitchFamily="2" charset="-122"/>
              </a:rPr>
              <a:t>Shivhare</a:t>
            </a:r>
            <a:endParaRPr lang="en-IN" sz="1100" b="0" i="0" u="none" strike="noStrike">
              <a:solidFill>
                <a:schemeClr val="bg1"/>
              </a:solidFill>
              <a:effectLst/>
              <a:latin typeface="Calibri" panose="020F0502020204030204" pitchFamily="34" charset="0"/>
              <a:ea typeface="等线" panose="02010600030101010101" pitchFamily="2" charset="-122"/>
            </a:endParaRPr>
          </a:p>
          <a:p>
            <a:pPr algn="ctr">
              <a:defRPr/>
            </a:pPr>
            <a:r>
              <a:rPr lang="en-US" sz="1100" b="1">
                <a:solidFill>
                  <a:schemeClr val="tx1"/>
                </a:solidFill>
                <a:latin typeface="Mars Centra"/>
                <a:ea typeface="Mars Centra"/>
              </a:rPr>
              <a:t>Finance</a:t>
            </a:r>
          </a:p>
          <a:p>
            <a:pPr algn="ctr">
              <a:defRPr/>
            </a:pPr>
            <a:endParaRPr lang="en-US" sz="800">
              <a:solidFill>
                <a:schemeClr val="bg1"/>
              </a:solidFill>
              <a:latin typeface="Mars Centra"/>
              <a:ea typeface="Mars Centr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CF6C58-E165-EFC1-929A-31DB5FCBB171}"/>
              </a:ext>
            </a:extLst>
          </p:cNvPr>
          <p:cNvSpPr/>
          <p:nvPr/>
        </p:nvSpPr>
        <p:spPr>
          <a:xfrm>
            <a:off x="2870166" y="920705"/>
            <a:ext cx="1440000" cy="54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r>
              <a:rPr lang="en-US" sz="1100" b="1" dirty="0">
                <a:solidFill>
                  <a:schemeClr val="bg1"/>
                </a:solidFill>
                <a:latin typeface="Mars Centra"/>
              </a:rPr>
              <a:t>Manish </a:t>
            </a:r>
            <a:r>
              <a:rPr lang="en-US" sz="1100" b="1" dirty="0" err="1">
                <a:solidFill>
                  <a:schemeClr val="bg1"/>
                </a:solidFill>
                <a:latin typeface="Mars Centra"/>
              </a:rPr>
              <a:t>Borade</a:t>
            </a:r>
            <a:endParaRPr lang="en-US" sz="1100" b="1" dirty="0">
              <a:solidFill>
                <a:schemeClr val="bg1"/>
              </a:solidFill>
              <a:latin typeface="Mars Centra"/>
            </a:endParaRPr>
          </a:p>
          <a:p>
            <a:pPr algn="ctr">
              <a:defRPr/>
            </a:pPr>
            <a:r>
              <a:rPr lang="en-US" sz="1100" dirty="0">
                <a:solidFill>
                  <a:schemeClr val="tx1"/>
                </a:solidFill>
                <a:latin typeface="Mars Centra"/>
              </a:rPr>
              <a:t>Supply Chain and S&amp;OP Director</a:t>
            </a:r>
          </a:p>
        </p:txBody>
      </p:sp>
    </p:spTree>
    <p:extLst>
      <p:ext uri="{BB962C8B-B14F-4D97-AF65-F5344CB8AC3E}">
        <p14:creationId xmlns:p14="http://schemas.microsoft.com/office/powerpoint/2010/main" val="10955597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D0A0AB-0B3F-AB50-C969-F6567E0C5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40" y="187906"/>
            <a:ext cx="12415520" cy="74681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kern="12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Business User List</a:t>
            </a:r>
            <a:r>
              <a:rPr lang="en-US" sz="3200">
                <a:solidFill>
                  <a:schemeClr val="accent1">
                    <a:lumMod val="75000"/>
                  </a:schemeClr>
                </a:solidFill>
              </a:rPr>
              <a:t> – PNIN (MD/LDA &amp; Supply Group &amp; Finance Team)</a:t>
            </a:r>
            <a:r>
              <a:rPr lang="en-US" sz="3200" kern="12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: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37F94F05-37D9-1D2E-73A5-5D176B5F89F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30110742"/>
              </p:ext>
            </p:extLst>
          </p:nvPr>
        </p:nvGraphicFramePr>
        <p:xfrm>
          <a:off x="466637" y="1077686"/>
          <a:ext cx="11300820" cy="5105402"/>
        </p:xfrm>
        <a:graphic>
          <a:graphicData uri="http://schemas.openxmlformats.org/drawingml/2006/table">
            <a:tbl>
              <a:tblPr firstRow="1" bandRow="1">
                <a:noFill/>
                <a:tableStyleId>{9D7B26C5-4107-4FEC-AEDC-1716B250A1EF}</a:tableStyleId>
              </a:tblPr>
              <a:tblGrid>
                <a:gridCol w="2348592">
                  <a:extLst>
                    <a:ext uri="{9D8B030D-6E8A-4147-A177-3AD203B41FA5}">
                      <a16:colId xmlns:a16="http://schemas.microsoft.com/office/drawing/2014/main" val="565011853"/>
                    </a:ext>
                  </a:extLst>
                </a:gridCol>
                <a:gridCol w="1762639">
                  <a:extLst>
                    <a:ext uri="{9D8B030D-6E8A-4147-A177-3AD203B41FA5}">
                      <a16:colId xmlns:a16="http://schemas.microsoft.com/office/drawing/2014/main" val="3030535163"/>
                    </a:ext>
                  </a:extLst>
                </a:gridCol>
                <a:gridCol w="3769730">
                  <a:extLst>
                    <a:ext uri="{9D8B030D-6E8A-4147-A177-3AD203B41FA5}">
                      <a16:colId xmlns:a16="http://schemas.microsoft.com/office/drawing/2014/main" val="489969367"/>
                    </a:ext>
                  </a:extLst>
                </a:gridCol>
                <a:gridCol w="3419859">
                  <a:extLst>
                    <a:ext uri="{9D8B030D-6E8A-4147-A177-3AD203B41FA5}">
                      <a16:colId xmlns:a16="http://schemas.microsoft.com/office/drawing/2014/main" val="2490896219"/>
                    </a:ext>
                  </a:extLst>
                </a:gridCol>
              </a:tblGrid>
              <a:tr h="860792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User Name</a:t>
                      </a:r>
                      <a:endParaRPr lang="en-IN" sz="1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7483" marR="124490" marT="124490" marB="12449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8F9A9D">
                          <a:alpha val="60000"/>
                        </a:srgb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User ID</a:t>
                      </a:r>
                      <a:endParaRPr lang="en-IN" sz="1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7483" marR="124490" marT="124490" marB="12449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8F9A9D">
                          <a:alpha val="60000"/>
                        </a:srgb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Email ID</a:t>
                      </a:r>
                      <a:endParaRPr lang="en-IN" sz="1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7483" marR="124490" marT="124490" marB="12449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8F9A9D">
                          <a:alpha val="60000"/>
                        </a:srgb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80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MDG Business Process Role</a:t>
                      </a:r>
                      <a:endParaRPr lang="en-IN" sz="1800" b="0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7483" marR="124490" marT="124490" marB="12449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8F9A9D">
                          <a:alpha val="60000"/>
                        </a:srgb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8489052"/>
                  </a:ext>
                </a:extLst>
              </a:tr>
              <a:tr h="707435"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Jessica Sun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NJES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sng" strike="noStrike">
                          <a:solidFill>
                            <a:srgbClr val="0563C1"/>
                          </a:solidFill>
                          <a:effectLst/>
                          <a:latin typeface="+mn-lt"/>
                          <a:hlinkClick r:id="rId3"/>
                        </a:rPr>
                        <a:t>jessica.sun@effem.com</a:t>
                      </a:r>
                      <a:endParaRPr lang="en-IN" sz="1600" b="0" i="0" u="sng" strike="noStrike">
                        <a:solidFill>
                          <a:srgbClr val="0563C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l Data Administrator, F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200614"/>
                  </a:ext>
                </a:extLst>
              </a:tr>
              <a:tr h="707435"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Mallesham Doragolla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DORAGMA1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hlinkClick r:id="rId4"/>
                        </a:rPr>
                        <a:t>mallesham.doragolla@effem.com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Local Data Administrator, FE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6244170"/>
                  </a:ext>
                </a:extLst>
              </a:tr>
              <a:tr h="707435"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Vijayasimha Reddy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REDDYVI1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hlinkClick r:id="rId5"/>
                        </a:rPr>
                        <a:t>vijayasimha.reddy@effem.com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Local Data Administrator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475418"/>
                  </a:ext>
                </a:extLst>
              </a:tr>
              <a:tr h="70743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Venu Venna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VENNAVEN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hlinkClick r:id="rId6"/>
                        </a:rPr>
                        <a:t>venu.venna@effem.com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Local Data Administrator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6269387"/>
                  </a:ext>
                </a:extLst>
              </a:tr>
              <a:tr h="707435"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Vasa </a:t>
                      </a:r>
                      <a:r>
                        <a:rPr lang="en-IN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Gurupyara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GURUPVAS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hlinkClick r:id="rId7"/>
                        </a:rPr>
                        <a:t>gurupyara.vasa@effem.com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Supply User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233036"/>
                  </a:ext>
                </a:extLst>
              </a:tr>
              <a:tr h="70743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Kanika </a:t>
                      </a:r>
                      <a:r>
                        <a:rPr lang="en-IN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Shivhar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SHIVHKAN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hlinkClick r:id="rId8"/>
                        </a:rPr>
                        <a:t>kanika.shivhare@effem.com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Finance User</a:t>
                      </a:r>
                    </a:p>
                  </a:txBody>
                  <a:tcPr marL="6350" marR="6350" marT="635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7580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2081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>
            <a:extLst>
              <a:ext uri="{FF2B5EF4-FFF2-40B4-BE49-F238E27FC236}">
                <a16:creationId xmlns:a16="http://schemas.microsoft.com/office/drawing/2014/main" id="{5228D619-8648-4F89-9375-5A8A1EC27DF6}"/>
              </a:ext>
            </a:extLst>
          </p:cNvPr>
          <p:cNvSpPr txBox="1">
            <a:spLocks/>
          </p:cNvSpPr>
          <p:nvPr/>
        </p:nvSpPr>
        <p:spPr>
          <a:xfrm>
            <a:off x="331789" y="121930"/>
            <a:ext cx="11376024" cy="86692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3000" b="0" i="0" kern="1200">
                <a:solidFill>
                  <a:schemeClr val="tx2"/>
                </a:solidFill>
                <a:latin typeface="+mj-lt"/>
                <a:ea typeface="Centra No1 Extrabold" pitchFamily="2" charset="0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 Extrabold"/>
                <a:cs typeface="+mj-cs"/>
              </a:rPr>
              <a:t>Systems of Records - Product Master Data Landscape </a:t>
            </a: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 Extrabold"/>
                <a:cs typeface="+mj-cs"/>
              </a:rPr>
              <a:t>AS-IS </a:t>
            </a: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uLnTx/>
              <a:uFillTx/>
              <a:latin typeface="Mars Centra Extrabold"/>
              <a:cs typeface="+mj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3EF8D2E-3DFE-4761-8FA6-6CE970FC9DF0}"/>
              </a:ext>
            </a:extLst>
          </p:cNvPr>
          <p:cNvSpPr/>
          <p:nvPr/>
        </p:nvSpPr>
        <p:spPr>
          <a:xfrm>
            <a:off x="282122" y="665339"/>
            <a:ext cx="1185583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Times New Roman" panose="02020603050405020304" pitchFamily="18" charset="0"/>
                <a:cs typeface="+mn-cs"/>
              </a:rPr>
              <a:t>MARS started their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Times New Roman" panose="02020603050405020304" pitchFamily="18" charset="0"/>
                <a:cs typeface="+mn-cs"/>
              </a:rPr>
              <a:t>product data governance journey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Times New Roman" panose="02020603050405020304" pitchFamily="18" charset="0"/>
                <a:cs typeface="+mn-cs"/>
              </a:rPr>
              <a:t>, with Veritas for core master data, including nutritional, legal, compliance, and recip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Times New Roman" panose="02020603050405020304" pitchFamily="18" charset="0"/>
                <a:cs typeface="+mn-cs"/>
              </a:rPr>
              <a:t>GRD is currently the global master data repository,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Times New Roman" panose="02020603050405020304" pitchFamily="18" charset="0"/>
                <a:cs typeface="+mn-cs"/>
              </a:rPr>
              <a:t>where users enrich product master data (i.e. with local classifications) initiated by Verita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Times New Roman" panose="02020603050405020304" pitchFamily="18" charset="0"/>
                <a:cs typeface="+mn-cs"/>
              </a:rPr>
              <a:t>Every Plant &amp; Sales Organizations extends globally created product data (i.e. with MRP data, Tax data) to their organizations in Atla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A6243581-B21E-48DF-9D6B-283DC2C682B6}"/>
              </a:ext>
            </a:extLst>
          </p:cNvPr>
          <p:cNvSpPr/>
          <p:nvPr/>
        </p:nvSpPr>
        <p:spPr>
          <a:xfrm>
            <a:off x="231322" y="1848818"/>
            <a:ext cx="1828800" cy="75680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Material Specifications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E2561BAE-8691-4CC1-8745-A8DD7EAA67FE}"/>
              </a:ext>
            </a:extLst>
          </p:cNvPr>
          <p:cNvSpPr/>
          <p:nvPr/>
        </p:nvSpPr>
        <p:spPr>
          <a:xfrm>
            <a:off x="231322" y="2611038"/>
            <a:ext cx="1828800" cy="80580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Global Product Data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267714D7-E0DD-476F-AE53-16975F1B0D72}"/>
              </a:ext>
            </a:extLst>
          </p:cNvPr>
          <p:cNvSpPr/>
          <p:nvPr/>
        </p:nvSpPr>
        <p:spPr>
          <a:xfrm>
            <a:off x="1359097" y="5079234"/>
            <a:ext cx="24218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Trade Specificatio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Raw Specific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Printed Pack Spe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Unprinted Pack Spec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3C8A3EB0-FCC9-44E9-9927-56AFCBA6E12B}"/>
              </a:ext>
            </a:extLst>
          </p:cNvPr>
          <p:cNvSpPr/>
          <p:nvPr/>
        </p:nvSpPr>
        <p:spPr>
          <a:xfrm>
            <a:off x="4882036" y="5066955"/>
            <a:ext cx="2421871" cy="12003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Finished goo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Raw Materia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Packaging Materia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Representative material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  <a:ea typeface="Mars Centra"/>
              </a:rPr>
              <a:t>Phantom Materials</a:t>
            </a:r>
            <a:endParaRPr lang="en-US" sz="1200">
              <a:solidFill>
                <a:srgbClr val="0000A0"/>
              </a:solidFill>
              <a:latin typeface="Mars Centr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0000A0"/>
                </a:solidFill>
                <a:latin typeface="Mars Centra"/>
              </a:rPr>
              <a:t>Packaging instruction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F0A943B8-51EF-411F-B8A2-B9430BD80146}"/>
              </a:ext>
            </a:extLst>
          </p:cNvPr>
          <p:cNvSpPr/>
          <p:nvPr/>
        </p:nvSpPr>
        <p:spPr>
          <a:xfrm>
            <a:off x="4904902" y="2620216"/>
            <a:ext cx="1828800" cy="80067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Global Product Data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7C46D8B4-D231-4461-A6AD-52F54285ADFA}"/>
              </a:ext>
            </a:extLst>
          </p:cNvPr>
          <p:cNvCxnSpPr>
            <a:cxnSpLocks/>
          </p:cNvCxnSpPr>
          <p:nvPr/>
        </p:nvCxnSpPr>
        <p:spPr>
          <a:xfrm>
            <a:off x="6733702" y="3411100"/>
            <a:ext cx="1122963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687DED76-B847-4E07-A4F9-5F077201FAE2}"/>
              </a:ext>
            </a:extLst>
          </p:cNvPr>
          <p:cNvCxnSpPr>
            <a:cxnSpLocks/>
          </p:cNvCxnSpPr>
          <p:nvPr/>
        </p:nvCxnSpPr>
        <p:spPr>
          <a:xfrm flipV="1">
            <a:off x="1684948" y="5014319"/>
            <a:ext cx="8686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73597255-CD6A-4075-A22F-5EB8C580FE35}"/>
              </a:ext>
            </a:extLst>
          </p:cNvPr>
          <p:cNvCxnSpPr>
            <a:cxnSpLocks/>
          </p:cNvCxnSpPr>
          <p:nvPr/>
        </p:nvCxnSpPr>
        <p:spPr>
          <a:xfrm>
            <a:off x="1664348" y="1854627"/>
            <a:ext cx="79552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55179F4-9020-4EEB-A0CB-7AAF808742C7}"/>
              </a:ext>
            </a:extLst>
          </p:cNvPr>
          <p:cNvSpPr/>
          <p:nvPr/>
        </p:nvSpPr>
        <p:spPr>
          <a:xfrm>
            <a:off x="4904903" y="3419615"/>
            <a:ext cx="1828800" cy="778992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 panose="02000000000000000000" pitchFamily="2" charset="0"/>
                <a:ea typeface="+mn-ea"/>
                <a:cs typeface="+mn-cs"/>
              </a:rPr>
              <a:t>Local Product Data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C310759-D762-41AD-8C81-3B62A579C974}"/>
              </a:ext>
            </a:extLst>
          </p:cNvPr>
          <p:cNvSpPr/>
          <p:nvPr/>
        </p:nvSpPr>
        <p:spPr>
          <a:xfrm>
            <a:off x="7856726" y="4199519"/>
            <a:ext cx="1828800" cy="814800"/>
          </a:xfrm>
          <a:prstGeom prst="rect">
            <a:avLst/>
          </a:prstGeom>
          <a:solidFill>
            <a:srgbClr val="FF8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 panose="02000000000000000000" pitchFamily="2" charset="0"/>
                <a:ea typeface="+mn-ea"/>
                <a:cs typeface="+mn-cs"/>
              </a:rPr>
              <a:t>Plant &amp; Sales Org. Level Data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7137D881-817D-4039-ADCB-A5114B5193AD}"/>
              </a:ext>
            </a:extLst>
          </p:cNvPr>
          <p:cNvSpPr/>
          <p:nvPr/>
        </p:nvSpPr>
        <p:spPr>
          <a:xfrm>
            <a:off x="7856666" y="2620216"/>
            <a:ext cx="1828800" cy="80067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Global Product Data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BE033D00-E71B-4CF3-99FD-DD9FEBD461F6}"/>
              </a:ext>
            </a:extLst>
          </p:cNvPr>
          <p:cNvSpPr/>
          <p:nvPr/>
        </p:nvSpPr>
        <p:spPr>
          <a:xfrm>
            <a:off x="7856665" y="3419616"/>
            <a:ext cx="1828800" cy="77899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 panose="02000000000000000000" pitchFamily="2" charset="0"/>
                <a:ea typeface="+mn-ea"/>
                <a:cs typeface="+mn-cs"/>
              </a:rPr>
              <a:t>Local Product Data</a:t>
            </a: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933181D2-FC63-4BF7-B6B6-3E63FF689EB8}"/>
              </a:ext>
            </a:extLst>
          </p:cNvPr>
          <p:cNvCxnSpPr>
            <a:cxnSpLocks/>
          </p:cNvCxnSpPr>
          <p:nvPr/>
        </p:nvCxnSpPr>
        <p:spPr>
          <a:xfrm flipV="1">
            <a:off x="1675930" y="2615285"/>
            <a:ext cx="8686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F72AE535-AD46-41AE-94B7-B36F2FAD338D}"/>
              </a:ext>
            </a:extLst>
          </p:cNvPr>
          <p:cNvCxnSpPr>
            <a:cxnSpLocks/>
          </p:cNvCxnSpPr>
          <p:nvPr/>
        </p:nvCxnSpPr>
        <p:spPr>
          <a:xfrm flipV="1">
            <a:off x="1675930" y="4201274"/>
            <a:ext cx="8686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012667C2-2C38-4CC1-A9FD-408A4D10F90E}"/>
              </a:ext>
            </a:extLst>
          </p:cNvPr>
          <p:cNvSpPr txBox="1"/>
          <p:nvPr/>
        </p:nvSpPr>
        <p:spPr>
          <a:xfrm>
            <a:off x="10021058" y="2962945"/>
            <a:ext cx="17629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ERP General Data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(Global: X-Plants &amp; Sales Orgs.)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5A7E263-9550-49DC-8543-E7D2A3C4544C}"/>
              </a:ext>
            </a:extLst>
          </p:cNvPr>
          <p:cNvSpPr txBox="1"/>
          <p:nvPr/>
        </p:nvSpPr>
        <p:spPr>
          <a:xfrm>
            <a:off x="10021058" y="4192392"/>
            <a:ext cx="2114305" cy="820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ERP Plant &amp; Sales Org Data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(by Plant &amp; Sales Orgs)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819630B5-5637-476B-89E5-A3582509EE6C}"/>
              </a:ext>
            </a:extLst>
          </p:cNvPr>
          <p:cNvSpPr txBox="1"/>
          <p:nvPr/>
        </p:nvSpPr>
        <p:spPr>
          <a:xfrm>
            <a:off x="786395" y="1521593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Verita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48B35692-8465-4DAE-910D-BF73580C5300}"/>
              </a:ext>
            </a:extLst>
          </p:cNvPr>
          <p:cNvSpPr txBox="1"/>
          <p:nvPr/>
        </p:nvSpPr>
        <p:spPr>
          <a:xfrm>
            <a:off x="5489896" y="1548382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GRD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26E2D52C-CEC3-4B50-9C21-D8FDADC17956}"/>
              </a:ext>
            </a:extLst>
          </p:cNvPr>
          <p:cNvSpPr txBox="1"/>
          <p:nvPr/>
        </p:nvSpPr>
        <p:spPr>
          <a:xfrm>
            <a:off x="8377365" y="1513573"/>
            <a:ext cx="713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Atlas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F749B8B5-19DE-46A3-815B-86B71D1A93FC}"/>
              </a:ext>
            </a:extLst>
          </p:cNvPr>
          <p:cNvCxnSpPr>
            <a:cxnSpLocks/>
          </p:cNvCxnSpPr>
          <p:nvPr/>
        </p:nvCxnSpPr>
        <p:spPr>
          <a:xfrm>
            <a:off x="1673584" y="3412592"/>
            <a:ext cx="8001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7176EA8E-E42B-4B3D-9ED1-8AE886A2B7D7}"/>
              </a:ext>
            </a:extLst>
          </p:cNvPr>
          <p:cNvCxnSpPr>
            <a:cxnSpLocks/>
            <a:endCxn id="111" idx="1"/>
          </p:cNvCxnSpPr>
          <p:nvPr/>
        </p:nvCxnSpPr>
        <p:spPr>
          <a:xfrm flipV="1">
            <a:off x="2058846" y="3020555"/>
            <a:ext cx="2835896" cy="1684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7A31B7B-E0EC-41C6-B3BD-489C92F089B1}"/>
              </a:ext>
            </a:extLst>
          </p:cNvPr>
          <p:cNvSpPr txBox="1"/>
          <p:nvPr/>
        </p:nvSpPr>
        <p:spPr>
          <a:xfrm>
            <a:off x="2894668" y="1549697"/>
            <a:ext cx="1308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000000"/>
                </a:solidFill>
                <a:latin typeface="Marsfont"/>
              </a:rPr>
              <a:t>RADAR</a:t>
            </a:r>
            <a:endParaRPr lang="en-IN" b="1">
              <a:solidFill>
                <a:srgbClr val="000000"/>
              </a:solidFill>
              <a:latin typeface="Marsfon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FFEEE04-72B8-735A-4605-944E2EBE8797}"/>
              </a:ext>
            </a:extLst>
          </p:cNvPr>
          <p:cNvSpPr/>
          <p:nvPr/>
        </p:nvSpPr>
        <p:spPr>
          <a:xfrm>
            <a:off x="2379198" y="1858663"/>
            <a:ext cx="1828800" cy="75680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Material Specification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CB7F52A-67EB-5DB7-3C9A-8E1F2E7DB23D}"/>
              </a:ext>
            </a:extLst>
          </p:cNvPr>
          <p:cNvCxnSpPr>
            <a:cxnSpLocks/>
            <a:endCxn id="111" idx="0"/>
          </p:cNvCxnSpPr>
          <p:nvPr/>
        </p:nvCxnSpPr>
        <p:spPr>
          <a:xfrm>
            <a:off x="5819302" y="2225757"/>
            <a:ext cx="0" cy="39445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C809237-C294-C612-9267-511AD4A219AD}"/>
              </a:ext>
            </a:extLst>
          </p:cNvPr>
          <p:cNvCxnSpPr>
            <a:stCxn id="5" idx="3"/>
          </p:cNvCxnSpPr>
          <p:nvPr/>
        </p:nvCxnSpPr>
        <p:spPr>
          <a:xfrm flipV="1">
            <a:off x="4207998" y="2237064"/>
            <a:ext cx="1611304" cy="1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64650E9C-5DB9-177C-9585-0AB1C868EA64}"/>
              </a:ext>
            </a:extLst>
          </p:cNvPr>
          <p:cNvSpPr txBox="1"/>
          <p:nvPr/>
        </p:nvSpPr>
        <p:spPr>
          <a:xfrm>
            <a:off x="2056902" y="1513436"/>
            <a:ext cx="515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OR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78769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>
            <a:extLst>
              <a:ext uri="{FF2B5EF4-FFF2-40B4-BE49-F238E27FC236}">
                <a16:creationId xmlns:a16="http://schemas.microsoft.com/office/drawing/2014/main" id="{5228D619-8648-4F89-9375-5A8A1EC27DF6}"/>
              </a:ext>
            </a:extLst>
          </p:cNvPr>
          <p:cNvSpPr txBox="1">
            <a:spLocks/>
          </p:cNvSpPr>
          <p:nvPr/>
        </p:nvSpPr>
        <p:spPr>
          <a:xfrm>
            <a:off x="331789" y="121930"/>
            <a:ext cx="11376024" cy="86692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3000" b="0" i="0" kern="1200">
                <a:solidFill>
                  <a:schemeClr val="tx2"/>
                </a:solidFill>
                <a:latin typeface="+mj-lt"/>
                <a:ea typeface="Centra No1 Extrabold" pitchFamily="2" charset="0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 Extrabold"/>
                <a:cs typeface="+mj-cs"/>
              </a:rPr>
              <a:t>Systems of Records - Product Master Data Landscape </a:t>
            </a: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Mars Centra Extrabold"/>
                <a:cs typeface="+mj-cs"/>
              </a:rPr>
              <a:t>TO-BE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3EF8D2E-3DFE-4761-8FA6-6CE970FC9DF0}"/>
              </a:ext>
            </a:extLst>
          </p:cNvPr>
          <p:cNvSpPr/>
          <p:nvPr/>
        </p:nvSpPr>
        <p:spPr>
          <a:xfrm>
            <a:off x="282122" y="665339"/>
            <a:ext cx="1185583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Times New Roman" panose="02020603050405020304" pitchFamily="18" charset="0"/>
                <a:cs typeface="+mn-cs"/>
              </a:rPr>
              <a:t>Plant &amp; Sales Level Extensions currently covered in Atlas will be mastered within MDG-M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Times New Roman" panose="02020603050405020304" pitchFamily="18" charset="0"/>
                <a:cs typeface="+mn-cs"/>
              </a:rPr>
              <a:t>MDG-M will be replacing creation &amp; maintenance of Premia, hierarchy node material typ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Mars Centra"/>
                <a:ea typeface="Times New Roman" panose="02020603050405020304" pitchFamily="18" charset="0"/>
                <a:cs typeface="+mn-cs"/>
              </a:rPr>
              <a:t>Data Enrichment with Local Classifications &amp; Descriptions will be covered in MDG, instead of GRD. 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9DAC2AD5-52F3-4092-9E90-6FEB63F6A642}"/>
              </a:ext>
            </a:extLst>
          </p:cNvPr>
          <p:cNvSpPr/>
          <p:nvPr/>
        </p:nvSpPr>
        <p:spPr>
          <a:xfrm>
            <a:off x="111280" y="1877689"/>
            <a:ext cx="1463520" cy="75680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Material Specification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AB5AE8E-AE49-4240-8988-87B3100F04F2}"/>
              </a:ext>
            </a:extLst>
          </p:cNvPr>
          <p:cNvSpPr/>
          <p:nvPr/>
        </p:nvSpPr>
        <p:spPr>
          <a:xfrm>
            <a:off x="111280" y="2626711"/>
            <a:ext cx="1463520" cy="82504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Global Product Data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F8B57D3-6545-4151-A44D-D9CA1B237E03}"/>
              </a:ext>
            </a:extLst>
          </p:cNvPr>
          <p:cNvSpPr/>
          <p:nvPr/>
        </p:nvSpPr>
        <p:spPr>
          <a:xfrm>
            <a:off x="5744231" y="5262429"/>
            <a:ext cx="2421871" cy="101566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Finished goo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Raw Materia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Packaging Material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Representative materials</a:t>
            </a: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Mars Centra"/>
              <a:ea typeface="Mars Centr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Phantom Materials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AE38276-600C-4A26-9934-5A1C53004555}"/>
              </a:ext>
            </a:extLst>
          </p:cNvPr>
          <p:cNvSpPr/>
          <p:nvPr/>
        </p:nvSpPr>
        <p:spPr>
          <a:xfrm>
            <a:off x="5721207" y="2629455"/>
            <a:ext cx="1828800" cy="81979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Global Product Data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079D837D-5ECC-4325-8B7B-80D80DADDFD0}"/>
              </a:ext>
            </a:extLst>
          </p:cNvPr>
          <p:cNvCxnSpPr>
            <a:cxnSpLocks/>
          </p:cNvCxnSpPr>
          <p:nvPr/>
        </p:nvCxnSpPr>
        <p:spPr>
          <a:xfrm>
            <a:off x="7574952" y="3448048"/>
            <a:ext cx="470611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AE4D5449-DE26-476D-AF9B-22A82E9C2C67}"/>
              </a:ext>
            </a:extLst>
          </p:cNvPr>
          <p:cNvCxnSpPr>
            <a:cxnSpLocks/>
          </p:cNvCxnSpPr>
          <p:nvPr/>
        </p:nvCxnSpPr>
        <p:spPr>
          <a:xfrm>
            <a:off x="555986" y="1854627"/>
            <a:ext cx="93268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C8D81C91-BF44-478C-A586-C934D6F73DD5}"/>
              </a:ext>
            </a:extLst>
          </p:cNvPr>
          <p:cNvSpPr/>
          <p:nvPr/>
        </p:nvSpPr>
        <p:spPr>
          <a:xfrm>
            <a:off x="3390626" y="3467683"/>
            <a:ext cx="1828800" cy="76001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Local Product Data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91CBE3C8-F11F-40D1-BAD8-07779DBA4264}"/>
              </a:ext>
            </a:extLst>
          </p:cNvPr>
          <p:cNvSpPr/>
          <p:nvPr/>
        </p:nvSpPr>
        <p:spPr>
          <a:xfrm>
            <a:off x="8043764" y="4199519"/>
            <a:ext cx="1828800" cy="81123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 panose="02000000000000000000" pitchFamily="2" charset="0"/>
                <a:ea typeface="+mn-ea"/>
                <a:cs typeface="+mn-cs"/>
              </a:rPr>
              <a:t>Plant &amp; Sales Org. Level Data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93C3DA71-D131-427D-A322-C5B23CBDC316}"/>
              </a:ext>
            </a:extLst>
          </p:cNvPr>
          <p:cNvSpPr/>
          <p:nvPr/>
        </p:nvSpPr>
        <p:spPr>
          <a:xfrm>
            <a:off x="8043704" y="2620216"/>
            <a:ext cx="1828800" cy="81979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Global Product Data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B5DD4AB-E37B-46CA-B424-2F8DC74F9A3D}"/>
              </a:ext>
            </a:extLst>
          </p:cNvPr>
          <p:cNvSpPr/>
          <p:nvPr/>
        </p:nvSpPr>
        <p:spPr>
          <a:xfrm>
            <a:off x="8043703" y="3448048"/>
            <a:ext cx="1828800" cy="75056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 panose="02000000000000000000" pitchFamily="2" charset="0"/>
                <a:ea typeface="+mn-ea"/>
                <a:cs typeface="+mn-cs"/>
              </a:rPr>
              <a:t>Local Product Data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DF5637C-DE98-4400-AA4D-8EF520F5D143}"/>
              </a:ext>
            </a:extLst>
          </p:cNvPr>
          <p:cNvSpPr txBox="1"/>
          <p:nvPr/>
        </p:nvSpPr>
        <p:spPr>
          <a:xfrm>
            <a:off x="10208096" y="2962945"/>
            <a:ext cx="17629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ERP General Data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(Global: X-Plants &amp; Sales Orgs.)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331D05C-F8DA-4EDA-A480-F8CB3B916BF2}"/>
              </a:ext>
            </a:extLst>
          </p:cNvPr>
          <p:cNvSpPr txBox="1"/>
          <p:nvPr/>
        </p:nvSpPr>
        <p:spPr>
          <a:xfrm>
            <a:off x="10208096" y="4210538"/>
            <a:ext cx="199238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ERP Plant &amp; Sales Org Data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(by Plant &amp; Sales Orgs)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C34C06D-955E-41F9-A2BA-0BF8ADB6C07D}"/>
              </a:ext>
            </a:extLst>
          </p:cNvPr>
          <p:cNvSpPr txBox="1"/>
          <p:nvPr/>
        </p:nvSpPr>
        <p:spPr>
          <a:xfrm>
            <a:off x="327906" y="1550158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Verita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A71E254-F9CF-4D0D-92E2-2C57C55D43DC}"/>
              </a:ext>
            </a:extLst>
          </p:cNvPr>
          <p:cNvSpPr txBox="1"/>
          <p:nvPr/>
        </p:nvSpPr>
        <p:spPr>
          <a:xfrm>
            <a:off x="3942799" y="1535672"/>
            <a:ext cx="713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GRD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7643EBD-368C-4265-AA86-B7599922C920}"/>
              </a:ext>
            </a:extLst>
          </p:cNvPr>
          <p:cNvSpPr txBox="1"/>
          <p:nvPr/>
        </p:nvSpPr>
        <p:spPr>
          <a:xfrm>
            <a:off x="8564403" y="1513573"/>
            <a:ext cx="713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Atlas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7D06FAC-2F47-428D-8E46-15422B1655D7}"/>
              </a:ext>
            </a:extLst>
          </p:cNvPr>
          <p:cNvSpPr/>
          <p:nvPr/>
        </p:nvSpPr>
        <p:spPr>
          <a:xfrm>
            <a:off x="3220617" y="5108439"/>
            <a:ext cx="2421871" cy="12003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Finished goo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Raw Materia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Packaging Materia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</a:rPr>
              <a:t>Representative material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0000A0"/>
                </a:solidFill>
                <a:latin typeface="Mars Centra"/>
                <a:ea typeface="Mars Centra"/>
              </a:rPr>
              <a:t>Phantom Materials</a:t>
            </a:r>
            <a:endParaRPr lang="en-US" sz="1200">
              <a:solidFill>
                <a:srgbClr val="0000A0"/>
              </a:solidFill>
              <a:latin typeface="Mars Centra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b="1">
                <a:solidFill>
                  <a:srgbClr val="0000A0"/>
                </a:solidFill>
                <a:latin typeface="Mars Centra"/>
              </a:rPr>
              <a:t>Packaging instruction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AF75C495-878D-4050-B722-EC65B721B999}"/>
              </a:ext>
            </a:extLst>
          </p:cNvPr>
          <p:cNvSpPr/>
          <p:nvPr/>
        </p:nvSpPr>
        <p:spPr>
          <a:xfrm>
            <a:off x="3390626" y="2654711"/>
            <a:ext cx="1828800" cy="81979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Global Product Data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FF9202A-A34F-44AC-A8F8-CB07127FDD2E}"/>
              </a:ext>
            </a:extLst>
          </p:cNvPr>
          <p:cNvSpPr/>
          <p:nvPr/>
        </p:nvSpPr>
        <p:spPr>
          <a:xfrm>
            <a:off x="5733963" y="3445110"/>
            <a:ext cx="1828800" cy="778930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 panose="02000000000000000000" pitchFamily="2" charset="0"/>
                <a:ea typeface="+mn-ea"/>
                <a:cs typeface="+mn-cs"/>
              </a:rPr>
              <a:t>Local Product Data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1ED9A65-CC52-4E40-B932-651EB1D6400B}"/>
              </a:ext>
            </a:extLst>
          </p:cNvPr>
          <p:cNvSpPr txBox="1"/>
          <p:nvPr/>
        </p:nvSpPr>
        <p:spPr>
          <a:xfrm>
            <a:off x="6291534" y="1544957"/>
            <a:ext cx="713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MDG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891E6748-7E46-4B9E-8CF0-179D00DEBE52}"/>
              </a:ext>
            </a:extLst>
          </p:cNvPr>
          <p:cNvCxnSpPr>
            <a:cxnSpLocks/>
          </p:cNvCxnSpPr>
          <p:nvPr/>
        </p:nvCxnSpPr>
        <p:spPr>
          <a:xfrm>
            <a:off x="5219426" y="3429000"/>
            <a:ext cx="547955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9A7CCF5F-3BF5-4DDC-AF07-A22D456F8642}"/>
              </a:ext>
            </a:extLst>
          </p:cNvPr>
          <p:cNvCxnSpPr>
            <a:cxnSpLocks/>
          </p:cNvCxnSpPr>
          <p:nvPr/>
        </p:nvCxnSpPr>
        <p:spPr>
          <a:xfrm>
            <a:off x="567568" y="3448048"/>
            <a:ext cx="9281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A3AE8CD1-55CB-4204-A83C-4004098C07AE}"/>
              </a:ext>
            </a:extLst>
          </p:cNvPr>
          <p:cNvCxnSpPr>
            <a:cxnSpLocks/>
          </p:cNvCxnSpPr>
          <p:nvPr/>
        </p:nvCxnSpPr>
        <p:spPr>
          <a:xfrm flipV="1">
            <a:off x="644170" y="2614916"/>
            <a:ext cx="101498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D10C04B9-105A-48FC-A8DA-80B73F6FD623}"/>
              </a:ext>
            </a:extLst>
          </p:cNvPr>
          <p:cNvCxnSpPr>
            <a:cxnSpLocks/>
            <a:stCxn id="66" idx="3"/>
          </p:cNvCxnSpPr>
          <p:nvPr/>
        </p:nvCxnSpPr>
        <p:spPr>
          <a:xfrm>
            <a:off x="1574800" y="3039234"/>
            <a:ext cx="1815826" cy="1490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D205054B-1A9C-46B8-8BB1-664DCDE125D1}"/>
              </a:ext>
            </a:extLst>
          </p:cNvPr>
          <p:cNvSpPr/>
          <p:nvPr/>
        </p:nvSpPr>
        <p:spPr>
          <a:xfrm>
            <a:off x="5744231" y="4224040"/>
            <a:ext cx="1828800" cy="806286"/>
          </a:xfrm>
          <a:prstGeom prst="rect">
            <a:avLst/>
          </a:prstGeom>
          <a:solidFill>
            <a:srgbClr val="FF8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 panose="02000000000000000000" pitchFamily="2" charset="0"/>
                <a:ea typeface="+mn-ea"/>
                <a:cs typeface="+mn-cs"/>
              </a:rPr>
              <a:t>Plant &amp; Sales Org. Level Data</a:t>
            </a: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94A460A0-EB59-4C6A-9CD9-428ADC0F7D4B}"/>
              </a:ext>
            </a:extLst>
          </p:cNvPr>
          <p:cNvCxnSpPr>
            <a:cxnSpLocks/>
          </p:cNvCxnSpPr>
          <p:nvPr/>
        </p:nvCxnSpPr>
        <p:spPr>
          <a:xfrm flipV="1">
            <a:off x="567568" y="4201274"/>
            <a:ext cx="101498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7535E63C-35E4-4EBA-95D8-A2FFDCED3591}"/>
              </a:ext>
            </a:extLst>
          </p:cNvPr>
          <p:cNvCxnSpPr>
            <a:cxnSpLocks/>
          </p:cNvCxnSpPr>
          <p:nvPr/>
        </p:nvCxnSpPr>
        <p:spPr>
          <a:xfrm flipV="1">
            <a:off x="576586" y="5014319"/>
            <a:ext cx="101498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E79A1CC-329C-44D9-A944-5268BCBA21F1}"/>
              </a:ext>
            </a:extLst>
          </p:cNvPr>
          <p:cNvSpPr/>
          <p:nvPr/>
        </p:nvSpPr>
        <p:spPr>
          <a:xfrm>
            <a:off x="331789" y="5145909"/>
            <a:ext cx="24218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Trade Specificatio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A0"/>
              </a:solidFill>
              <a:effectLst/>
              <a:uLnTx/>
              <a:uFillTx/>
              <a:latin typeface="Mars Centr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Raw Specific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Printed Pack Spe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Unprinted Pack Specs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2BAB898A-EE73-4D18-8CFF-4519839344A6}"/>
              </a:ext>
            </a:extLst>
          </p:cNvPr>
          <p:cNvSpPr/>
          <p:nvPr/>
        </p:nvSpPr>
        <p:spPr>
          <a:xfrm rot="20265784">
            <a:off x="10347665" y="813105"/>
            <a:ext cx="1463040" cy="800655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 Centra"/>
                <a:ea typeface="+mn-ea"/>
                <a:cs typeface="+mn-cs"/>
              </a:rPr>
              <a:t>Excluding Market co-packing item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38C18E-87E2-D471-0CBE-2410AB204C45}"/>
              </a:ext>
            </a:extLst>
          </p:cNvPr>
          <p:cNvSpPr txBox="1"/>
          <p:nvPr/>
        </p:nvSpPr>
        <p:spPr>
          <a:xfrm>
            <a:off x="2038719" y="1538287"/>
            <a:ext cx="1256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rgbClr val="000000"/>
                </a:solidFill>
                <a:latin typeface="Marsfont"/>
              </a:rPr>
              <a:t>RADAR</a:t>
            </a:r>
            <a:endParaRPr lang="en-IN" b="1">
              <a:solidFill>
                <a:srgbClr val="000000"/>
              </a:solidFill>
              <a:latin typeface="Marsfon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97DC4C5-4B14-014D-858B-55FAAF1A932A}"/>
              </a:ext>
            </a:extLst>
          </p:cNvPr>
          <p:cNvSpPr/>
          <p:nvPr/>
        </p:nvSpPr>
        <p:spPr>
          <a:xfrm>
            <a:off x="1847173" y="1877581"/>
            <a:ext cx="1463520" cy="75680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sfont"/>
                <a:ea typeface="+mn-ea"/>
                <a:cs typeface="+mn-cs"/>
              </a:rPr>
              <a:t>Material Specification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34528DA-D961-BEEA-8959-B4C891EC6496}"/>
              </a:ext>
            </a:extLst>
          </p:cNvPr>
          <p:cNvCxnSpPr>
            <a:cxnSpLocks/>
            <a:endCxn id="91" idx="0"/>
          </p:cNvCxnSpPr>
          <p:nvPr/>
        </p:nvCxnSpPr>
        <p:spPr>
          <a:xfrm>
            <a:off x="4299627" y="2247333"/>
            <a:ext cx="5399" cy="40737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4918B30-383A-2626-FAC6-BCE088301A95}"/>
              </a:ext>
            </a:extLst>
          </p:cNvPr>
          <p:cNvCxnSpPr>
            <a:stCxn id="13" idx="3"/>
          </p:cNvCxnSpPr>
          <p:nvPr/>
        </p:nvCxnSpPr>
        <p:spPr>
          <a:xfrm flipV="1">
            <a:off x="3310693" y="2248537"/>
            <a:ext cx="988934" cy="7446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916D39F-C57F-5951-9085-15C8A7B8CD38}"/>
              </a:ext>
            </a:extLst>
          </p:cNvPr>
          <p:cNvSpPr txBox="1"/>
          <p:nvPr/>
        </p:nvSpPr>
        <p:spPr>
          <a:xfrm>
            <a:off x="1433913" y="1529553"/>
            <a:ext cx="505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OR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96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C82853-8976-46C4-82BA-5D9DB057D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b="1" u="sng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cope for PNIN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46B405EF-1F46-435E-9167-EB09707822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137528"/>
              </p:ext>
            </p:extLst>
          </p:nvPr>
        </p:nvGraphicFramePr>
        <p:xfrm>
          <a:off x="1696064" y="1671483"/>
          <a:ext cx="8794464" cy="4394205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854571">
                  <a:extLst>
                    <a:ext uri="{9D8B030D-6E8A-4147-A177-3AD203B41FA5}">
                      <a16:colId xmlns:a16="http://schemas.microsoft.com/office/drawing/2014/main" val="2418687726"/>
                    </a:ext>
                  </a:extLst>
                </a:gridCol>
                <a:gridCol w="5939893">
                  <a:extLst>
                    <a:ext uri="{9D8B030D-6E8A-4147-A177-3AD203B41FA5}">
                      <a16:colId xmlns:a16="http://schemas.microsoft.com/office/drawing/2014/main" val="889064885"/>
                    </a:ext>
                  </a:extLst>
                </a:gridCol>
              </a:tblGrid>
              <a:tr h="419904">
                <a:tc>
                  <a:txBody>
                    <a:bodyPr/>
                    <a:lstStyle/>
                    <a:p>
                      <a:pPr algn="l"/>
                      <a:r>
                        <a:rPr lang="fr-FR" sz="1400" b="1" cap="none" spc="0">
                          <a:solidFill>
                            <a:schemeClr val="tx1"/>
                          </a:solidFill>
                        </a:rPr>
                        <a:t>Materials types </a:t>
                      </a:r>
                      <a:endParaRPr lang="en-IN" sz="1400" b="1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cap="none" spc="0">
                          <a:solidFill>
                            <a:schemeClr val="tx1"/>
                          </a:solidFill>
                        </a:rPr>
                        <a:t>PIPE, NLAG, UNBW, ZPRM, VERP, ROH, FERT</a:t>
                      </a:r>
                      <a:endParaRPr lang="en-IN" sz="1400" b="1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4912129"/>
                  </a:ext>
                </a:extLst>
              </a:tr>
              <a:tr h="1454877">
                <a:tc>
                  <a:txBody>
                    <a:bodyPr/>
                    <a:lstStyle/>
                    <a:p>
                      <a:pPr algn="l"/>
                      <a:r>
                        <a:rPr lang="en-US" sz="1400" b="1" cap="none" spc="0">
                          <a:solidFill>
                            <a:schemeClr val="tx1"/>
                          </a:solidFill>
                        </a:rPr>
                        <a:t>Plants</a:t>
                      </a:r>
                      <a:endParaRPr lang="en-IN" sz="1400" b="1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IN00,IN01,IN03,IN04,IN05,IN06,IN07,IN08,IN09,IN10,IN11,IN12,IN13,IN14,</a:t>
                      </a:r>
                      <a:endParaRPr lang="en-US"/>
                    </a:p>
                    <a:p>
                      <a:pPr lvl="0" algn="l">
                        <a:buNone/>
                      </a:pPr>
                      <a:r>
                        <a:rPr lang="en-US" sz="1400" cap="none" spc="0">
                          <a:solidFill>
                            <a:schemeClr val="tx1"/>
                          </a:solidFill>
                        </a:rPr>
                        <a:t>IN15,IN16,IN17,IN18,IN19</a:t>
                      </a:r>
                      <a:endParaRPr lang="en-US"/>
                    </a:p>
                  </a:txBody>
                  <a:tcPr marL="115326" marR="67101" marT="88712" marB="8871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5279709"/>
                  </a:ext>
                </a:extLst>
              </a:tr>
              <a:tr h="419904">
                <a:tc>
                  <a:txBody>
                    <a:bodyPr/>
                    <a:lstStyle/>
                    <a:p>
                      <a:pPr algn="l"/>
                      <a:r>
                        <a:rPr lang="en-US" sz="1400" b="1" cap="none" spc="0">
                          <a:solidFill>
                            <a:schemeClr val="tx1"/>
                          </a:solidFill>
                        </a:rPr>
                        <a:t>Sales Organization</a:t>
                      </a:r>
                      <a:endParaRPr lang="en-IN" sz="1400" b="1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cap="none" spc="0">
                          <a:solidFill>
                            <a:schemeClr val="tx1"/>
                          </a:solidFill>
                          <a:latin typeface="Mars Centra"/>
                        </a:rPr>
                        <a:t>388</a:t>
                      </a:r>
                    </a:p>
                  </a:txBody>
                  <a:tcPr marL="115326" marR="67101" marT="88712" marB="8871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60798019"/>
                  </a:ext>
                </a:extLst>
              </a:tr>
              <a:tr h="419904">
                <a:tc>
                  <a:txBody>
                    <a:bodyPr/>
                    <a:lstStyle/>
                    <a:p>
                      <a:pPr algn="l"/>
                      <a:r>
                        <a:rPr lang="en-US" sz="1400" b="1" cap="none" spc="0">
                          <a:solidFill>
                            <a:schemeClr val="tx1"/>
                          </a:solidFill>
                        </a:rPr>
                        <a:t>Distribution channels</a:t>
                      </a:r>
                      <a:endParaRPr lang="en-IN" sz="1400" b="1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>
                          <a:solidFill>
                            <a:schemeClr val="tx1"/>
                          </a:solidFill>
                        </a:rPr>
                        <a:t>10, 11, 35, 50, 99</a:t>
                      </a:r>
                      <a:endParaRPr lang="en-IN" sz="1400" b="0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96681762"/>
                  </a:ext>
                </a:extLst>
              </a:tr>
              <a:tr h="419904">
                <a:tc>
                  <a:txBody>
                    <a:bodyPr/>
                    <a:lstStyle/>
                    <a:p>
                      <a:pPr algn="l"/>
                      <a:r>
                        <a:rPr lang="en-US" sz="1400" b="1" cap="none" spc="0">
                          <a:solidFill>
                            <a:schemeClr val="tx1"/>
                          </a:solidFill>
                        </a:rPr>
                        <a:t>Total Business materials in scope</a:t>
                      </a:r>
                      <a:endParaRPr lang="en-IN" sz="1400" b="1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Mars Centra"/>
                        </a:rPr>
                        <a:t>5,691</a:t>
                      </a:r>
                      <a:endParaRPr lang="en-IN" sz="1400" b="0" cap="none" spc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35949195"/>
                  </a:ext>
                </a:extLst>
              </a:tr>
              <a:tr h="419904">
                <a:tc>
                  <a:txBody>
                    <a:bodyPr/>
                    <a:lstStyle/>
                    <a:p>
                      <a:pPr algn="l"/>
                      <a:r>
                        <a:rPr lang="en-US" sz="1400" b="1" cap="none" spc="0">
                          <a:solidFill>
                            <a:schemeClr val="tx1"/>
                          </a:solidFill>
                        </a:rPr>
                        <a:t>Total Business users On-Boarded</a:t>
                      </a:r>
                      <a:endParaRPr lang="en-IN" sz="1400" b="1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cap="none" spc="0">
                          <a:solidFill>
                            <a:schemeClr val="tx1"/>
                          </a:solidFill>
                        </a:rPr>
                        <a:t>2(MD), 1(SP), 1(SF)</a:t>
                      </a:r>
                      <a:endParaRPr lang="en-US" sz="1400" b="0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6680673"/>
                  </a:ext>
                </a:extLst>
              </a:tr>
              <a:tr h="419904">
                <a:tc>
                  <a:txBody>
                    <a:bodyPr/>
                    <a:lstStyle/>
                    <a:p>
                      <a:pPr algn="l"/>
                      <a:r>
                        <a:rPr lang="en-US" sz="1400" b="1" cap="none" spc="0">
                          <a:solidFill>
                            <a:schemeClr val="tx1"/>
                          </a:solidFill>
                        </a:rPr>
                        <a:t>User Groups</a:t>
                      </a:r>
                      <a:endParaRPr lang="en-IN" sz="1400" b="1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cap="none" spc="0">
                          <a:solidFill>
                            <a:schemeClr val="tx1"/>
                          </a:solidFill>
                        </a:rPr>
                        <a:t>Master Data(MD), Supply Group(SP), Finance Team(SF)</a:t>
                      </a:r>
                      <a:endParaRPr lang="en-IN" sz="1400" b="0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1394474"/>
                  </a:ext>
                </a:extLst>
              </a:tr>
              <a:tr h="419904">
                <a:tc>
                  <a:txBody>
                    <a:bodyPr/>
                    <a:lstStyle/>
                    <a:p>
                      <a:pPr algn="l"/>
                      <a:r>
                        <a:rPr lang="en-US" sz="1400" b="1" cap="none" spc="0">
                          <a:solidFill>
                            <a:schemeClr val="tx1"/>
                          </a:solidFill>
                        </a:rPr>
                        <a:t>MOE Code</a:t>
                      </a:r>
                      <a:endParaRPr lang="en-IN" sz="1400" b="1" cap="none" spc="0">
                        <a:solidFill>
                          <a:schemeClr val="tx1"/>
                        </a:solidFill>
                        <a:latin typeface="Mars Centra"/>
                      </a:endParaRPr>
                    </a:p>
                  </a:txBody>
                  <a:tcPr marL="115326" marR="67101" marT="88712" marB="887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4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269, 0277, 0169</a:t>
                      </a:r>
                      <a:endParaRPr lang="en-IN" sz="1400" b="0" i="0" u="none" strike="noStrike" cap="none" spc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115326" marR="0" marT="88712" marB="8871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44287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8733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a72706-e9f7-4256-9779-abe1cda6895c">
      <Terms xmlns="http://schemas.microsoft.com/office/infopath/2007/PartnerControls"/>
    </lcf76f155ced4ddcb4097134ff3c332f>
    <TaxCatchAll xmlns="d7885bcc-874a-4691-ac6e-c3e66381ceb9" xsi:nil="true"/>
    <IconOverlay xmlns="http://schemas.microsoft.com/sharepoint/v4" xsi:nil="true"/>
    <ArchiverLinkFileType xmlns="2ba72706-e9f7-4256-9779-abe1cda6895c" xsi:nil="true"/>
    <PurposeorContent xmlns="2ba72706-e9f7-4256-9779-abe1cda6895c" xsi:nil="true"/>
    <FileCreatedby xmlns="2ba72706-e9f7-4256-9779-abe1cda6895c">
      <UserInfo>
        <DisplayName/>
        <AccountId xsi:nil="true"/>
        <AccountType/>
      </UserInfo>
    </FileCreatedb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40572EDA12264C8679B17DC6B05950" ma:contentTypeVersion="24" ma:contentTypeDescription="Create a new document." ma:contentTypeScope="" ma:versionID="29236211ba2f34c8513d52836c2e8353">
  <xsd:schema xmlns:xsd="http://www.w3.org/2001/XMLSchema" xmlns:xs="http://www.w3.org/2001/XMLSchema" xmlns:p="http://schemas.microsoft.com/office/2006/metadata/properties" xmlns:ns1="http://schemas.microsoft.com/sharepoint/v3" xmlns:ns2="2ba72706-e9f7-4256-9779-abe1cda6895c" xmlns:ns3="d7885bcc-874a-4691-ac6e-c3e66381ceb9" xmlns:ns4="http://schemas.microsoft.com/sharepoint/v4" targetNamespace="http://schemas.microsoft.com/office/2006/metadata/properties" ma:root="true" ma:fieldsID="a0e178d436df2054bf854c161ada3f00" ns1:_="" ns2:_="" ns3:_="" ns4:_="">
    <xsd:import namespace="http://schemas.microsoft.com/sharepoint/v3"/>
    <xsd:import namespace="2ba72706-e9f7-4256-9779-abe1cda6895c"/>
    <xsd:import namespace="d7885bcc-874a-4691-ac6e-c3e66381ceb9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FileCreatedby" minOccurs="0"/>
                <xsd:element ref="ns2:PurposeorContent" minOccurs="0"/>
                <xsd:element ref="ns2:MediaServiceSearchProperties" minOccurs="0"/>
                <xsd:element ref="ns2:ArchiverLinkFileType" minOccurs="0"/>
                <xsd:element ref="ns4:IconOverlay" minOccurs="0"/>
                <xsd:element ref="ns1:_vti_ItemDeclaredRecord" minOccurs="0"/>
                <xsd:element ref="ns1:_vti_ItemHoldRecord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vti_ItemDeclaredRecord" ma:index="29" nillable="true" ma:displayName="Declared Record" ma:hidden="true" ma:internalName="_vti_ItemDeclaredRecord" ma:readOnly="true">
      <xsd:simpleType>
        <xsd:restriction base="dms:DateTime"/>
      </xsd:simpleType>
    </xsd:element>
    <xsd:element name="_vti_ItemHoldRecordStatus" ma:index="30" nillable="true" ma:displayName="Hold and Record Status" ma:decimals="0" ma:description="" ma:hidden="true" ma:indexed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a72706-e9f7-4256-9779-abe1cda689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82a8648-6b9d-42b8-a641-c896e6ef164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FileCreatedby" ma:index="24" nillable="true" ma:displayName="File Created by" ma:description="The author of original file " ma:format="Dropdown" ma:list="UserInfo" ma:SharePointGroup="0" ma:internalName="FileCreatedby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urposeorContent" ma:index="25" nillable="true" ma:displayName="Purpose or Content" ma:description="Description of Purpose or Content" ma:format="Dropdown" ma:internalName="PurposeorContent">
      <xsd:simpleType>
        <xsd:restriction base="dms:Note">
          <xsd:maxLength value="255"/>
        </xsd:restriction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ArchiverLinkFileType" ma:index="27" nillable="true" ma:displayName="ArchiverLinkFileType" ma:hidden="true" ma:internalName="ArchiverLinkFileTyp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85bcc-874a-4691-ac6e-c3e66381ceb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19c823e6-0a5b-4813-9680-ecb80efb296c}" ma:internalName="TaxCatchAll" ma:showField="CatchAllData" ma:web="d7885bcc-874a-4691-ac6e-c3e66381ceb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8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3262C7-49F7-4CA9-BC38-DA4F9D900957}">
  <ds:schemaRefs>
    <ds:schemaRef ds:uri="3c35e321-f73a-4dae-ae38-a0459de24735"/>
    <ds:schemaRef ds:uri="7d29d134-f574-48f3-a43b-65dacfcd014b"/>
    <ds:schemaRef ds:uri="8c8b3cf7-67d2-4259-80c7-18be3c48181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2ba72706-e9f7-4256-9779-abe1cda6895c"/>
    <ds:schemaRef ds:uri="d7885bcc-874a-4691-ac6e-c3e66381ceb9"/>
    <ds:schemaRef ds:uri="http://schemas.microsoft.com/sharepoint/v4"/>
  </ds:schemaRefs>
</ds:datastoreItem>
</file>

<file path=customXml/itemProps2.xml><?xml version="1.0" encoding="utf-8"?>
<ds:datastoreItem xmlns:ds="http://schemas.openxmlformats.org/officeDocument/2006/customXml" ds:itemID="{E1CA1C77-7E85-49F9-9C8B-3AE09A927EE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BAC2F64-7F74-4E37-A0D9-BB691B9D0F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ba72706-e9f7-4256-9779-abe1cda6895c"/>
    <ds:schemaRef ds:uri="d7885bcc-874a-4691-ac6e-c3e66381ceb9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56</Words>
  <Application>Microsoft Office PowerPoint</Application>
  <PresentationFormat>Widescreen</PresentationFormat>
  <Paragraphs>758</Paragraphs>
  <Slides>3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3" baseType="lpstr">
      <vt:lpstr>Mars Centra (Body)</vt:lpstr>
      <vt:lpstr>Mars Centra Extrabold (Headings)</vt:lpstr>
      <vt:lpstr>Marsfont</vt:lpstr>
      <vt:lpstr>Arial</vt:lpstr>
      <vt:lpstr>Calibri</vt:lpstr>
      <vt:lpstr>Calibri Light</vt:lpstr>
      <vt:lpstr>Mars Centra</vt:lpstr>
      <vt:lpstr>Mars Centra Extrabold</vt:lpstr>
      <vt:lpstr>Times New Roman</vt:lpstr>
      <vt:lpstr>Wingdings</vt:lpstr>
      <vt:lpstr>Office Theme</vt:lpstr>
      <vt:lpstr>think-cell Slide</vt:lpstr>
      <vt:lpstr>MDG-M APAC : PNIN Deployment  KT to Support Team</vt:lpstr>
      <vt:lpstr>PowerPoint Presentation</vt:lpstr>
      <vt:lpstr>Key Dates:</vt:lpstr>
      <vt:lpstr>PowerPoint Presentation</vt:lpstr>
      <vt:lpstr>PROJECT GOVERNANCE</vt:lpstr>
      <vt:lpstr>Business User List – PNIN (MD/LDA &amp; Supply Group &amp; Finance Team):</vt:lpstr>
      <vt:lpstr>PowerPoint Presentation</vt:lpstr>
      <vt:lpstr>PowerPoint Presentation</vt:lpstr>
      <vt:lpstr>Scope for PNIN</vt:lpstr>
      <vt:lpstr>Scenario Descriptions – PNIN(PIPE, NLAG, UNBW, ZPRM, VERP, ROH,FERT)</vt:lpstr>
      <vt:lpstr>PowerPoint Presentation</vt:lpstr>
      <vt:lpstr>Landscape and interfaces </vt:lpstr>
      <vt:lpstr>SAP MDG Security</vt:lpstr>
      <vt:lpstr>SAP MDG Security – Overview</vt:lpstr>
      <vt:lpstr>PowerPoint Presentation</vt:lpstr>
      <vt:lpstr>PowerPoint Presentation</vt:lpstr>
      <vt:lpstr>PowerPoint Presentation</vt:lpstr>
      <vt:lpstr>PowerPoint Presentation</vt:lpstr>
      <vt:lpstr>Change Request Types in MDG</vt:lpstr>
      <vt:lpstr>Change Request Status and Description</vt:lpstr>
      <vt:lpstr>PowerPoint Presentation</vt:lpstr>
      <vt:lpstr>PowerPoint Presentation</vt:lpstr>
      <vt:lpstr>PNIN Business Processes in MDG </vt:lpstr>
      <vt:lpstr>Interface between MDG and ATLAS &amp; GRD</vt:lpstr>
      <vt:lpstr>Interface Message Types- MDG to GRD &amp; ATLAS</vt:lpstr>
      <vt:lpstr>PowerPoint Presentation</vt:lpstr>
      <vt:lpstr>PowerPoint Presentation</vt:lpstr>
      <vt:lpstr>PowerPoint Presentation</vt:lpstr>
      <vt:lpstr>Appendix</vt:lpstr>
      <vt:lpstr>Reference Links: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DG-M MWCN  KT to Support Team</dc:title>
  <dc:creator>T, Inchara (Cognizant)</dc:creator>
  <cp:lastModifiedBy>Sun, Jessica</cp:lastModifiedBy>
  <cp:revision>43</cp:revision>
  <dcterms:created xsi:type="dcterms:W3CDTF">2024-01-09T10:07:03Z</dcterms:created>
  <dcterms:modified xsi:type="dcterms:W3CDTF">2024-03-28T07:0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40572EDA12264C8679B17DC6B05950</vt:lpwstr>
  </property>
  <property fmtid="{D5CDD505-2E9C-101B-9397-08002B2CF9AE}" pid="3" name="MediaServiceImageTags">
    <vt:lpwstr/>
  </property>
</Properties>
</file>